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F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2"/>
  </p:normalViewPr>
  <p:slideViewPr>
    <p:cSldViewPr snapToGrid="0">
      <p:cViewPr varScale="1">
        <p:scale>
          <a:sx n="88" d="100"/>
          <a:sy n="88" d="100"/>
        </p:scale>
        <p:origin x="184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79A5F-B6B8-4904-01F7-96ADC4E7E3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95819B-E92C-23C5-7299-08D4051C39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F2E821-E069-F20E-80CB-B0BE5C628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D413B2-015D-5486-EF0B-754BA17D4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6A46C9-636B-64C5-C9B3-0456A7845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9586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06471-0596-37B1-9924-C8C25BB87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97B2B94-9793-35A4-295A-FD33C34E2F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94E155-54AC-1A5A-89BC-972CFEC8A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20F6A2-23AA-E907-5AC6-0628AA7B4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2AB0F3-239B-FCC2-A76E-79989F4E3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40949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A61675C-6843-739C-8656-BBD4C7E6D5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E6FC4BB-7CFB-C17A-98A7-949F32318D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F329E2-D609-A031-2B6A-7A318B46B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275635-8FE3-FA8C-80BD-36EAE777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82FB72-73FD-E330-989F-C1C2FF23D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5961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9751AF-1960-4261-4EC3-859A221C5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8BA6700-097A-E309-0009-09AA2EB232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53B60F-0C23-0F0C-9B1D-C023D4BCC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D7D9F0-C4F5-53D8-37A1-4FD13BA4C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7EBBE3-E066-21C0-F98D-85DF7B64C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8851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8956A8-9561-7623-B5DA-BE5317BA0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16566B-962C-E773-1C46-8C48CB168E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F7DB00-D148-DD0D-D5D6-1A29E4823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031111-925F-FD9B-175B-CE48E9FA4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766233-B8CC-E5D3-361A-D929FB299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219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3A441D-D717-3FC3-ED5C-D0F2ABAEA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211C67-60E5-216B-95DA-F8E2BC92A0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140A3F-BC46-5B3C-17DE-43F4738871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5FC50B-B373-28A5-1853-15CFA6EC8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153A48F-4051-B6C1-5A4C-E89787FEC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2A6736E-4488-742E-DE89-CCD7DA1BD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8418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0220A3-E709-3D3F-8183-95057C51E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5DC5D52-54E1-C894-3531-FA844D6C30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F095DA4-FD58-D739-C310-F27403AB62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2F9810-B8B1-3C19-BBB4-70F93F712B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1DC1418-3B50-84F2-7642-E2DF8DAA0B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B510D0C-37F5-3F16-A6CF-FD09D288A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178CF21-782F-8F04-2FBA-8018A0D5E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99EE7C-4628-62A5-7A52-DEE2E7A76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3281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DA975B-9248-5246-E00D-70801D2D8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30E8006-A631-B3D4-F145-0049D2356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97B12F-64C6-AEAC-F2AA-73A0D2CD1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F9B2505-9E1E-F433-2B80-23C037AD6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4573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E761DC-0E78-750B-F593-A30095BB9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4FF8F8-1C02-7A89-8BBD-5B0015316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CE4E99-AD1F-B98D-3C85-D77C61CA2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722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90FF53-198E-91D6-0C1B-772047BAC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FE7CED-0720-7C97-409E-057D7629EB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1076CD-07F6-7BB9-757C-E166A62574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5A2A32F-4435-D7F8-6019-7CCCC4159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58FAB28-3C94-3DA2-5241-C8D0874C7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23529B-0310-B439-6575-4CF27F53D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2845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0215EA-62A0-DE38-063D-C959F8DCA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96F04FF-6EA3-01E0-4A3D-7E9723E4C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B467335-22A9-CAA1-B58D-DC7106024F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7A739B-E66D-A55A-4257-1BE7FFA4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75EBB1-49C6-E02A-F663-E3B82483C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4249808-0F85-8F35-3C52-B606ACD36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9826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309E221-A3F5-DBC9-7F94-AD07756DB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69545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0A7B0CE-7F48-70A0-7193-8CABE77BA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72FE3E-E8EC-A406-7A4A-26AB5BCCA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F85727-DABD-640A-5392-C3D7CC7F2D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BC947-1CFC-664B-99B8-64253EDE59EF}" type="datetimeFigureOut">
              <a:rPr lang="de-DE" smtClean="0"/>
              <a:t>28.01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3E62AF-6C0B-8EBB-1222-4D8EA31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FDCD6EC-EDAA-040E-9A21-B41269DA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D58318-7F10-2141-9323-76521E9C42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37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D712A1-021F-2F8D-B7B3-A2049E2BAE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55935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450A529F-A1F7-1AC1-4D13-42F8B04DF336}"/>
              </a:ext>
            </a:extLst>
          </p:cNvPr>
          <p:cNvSpPr/>
          <p:nvPr/>
        </p:nvSpPr>
        <p:spPr>
          <a:xfrm>
            <a:off x="-1077239" y="-100208"/>
            <a:ext cx="2755726" cy="70584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39A925C-A23A-0D80-FE74-BADFAE389319}"/>
              </a:ext>
            </a:extLst>
          </p:cNvPr>
          <p:cNvSpPr txBox="1"/>
          <p:nvPr/>
        </p:nvSpPr>
        <p:spPr>
          <a:xfrm>
            <a:off x="551145" y="0"/>
            <a:ext cx="1538883" cy="6237962"/>
          </a:xfrm>
          <a:prstGeom prst="rect">
            <a:avLst/>
          </a:prstGeom>
          <a:noFill/>
          <a:effectLst/>
        </p:spPr>
        <p:txBody>
          <a:bodyPr vert="vert270" wrap="square" rtlCol="0">
            <a:spAutoFit/>
          </a:bodyPr>
          <a:lstStyle/>
          <a:p>
            <a:r>
              <a:rPr lang="de-DE" sz="880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Impact Coin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DCDBCF02-3A8E-7208-B05A-3CFA7315B1BD}"/>
              </a:ext>
            </a:extLst>
          </p:cNvPr>
          <p:cNvGrpSpPr/>
          <p:nvPr/>
        </p:nvGrpSpPr>
        <p:grpSpPr>
          <a:xfrm>
            <a:off x="10474144" y="4969652"/>
            <a:ext cx="1327759" cy="1327759"/>
            <a:chOff x="5919271" y="1473592"/>
            <a:chExt cx="1327759" cy="132775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26010A9-D515-7EDB-08F5-8A483FB8F7FC}"/>
                </a:ext>
              </a:extLst>
            </p:cNvPr>
            <p:cNvSpPr/>
            <p:nvPr/>
          </p:nvSpPr>
          <p:spPr>
            <a:xfrm>
              <a:off x="5919271" y="1473592"/>
              <a:ext cx="1327759" cy="132775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8B547679-F981-AEA2-9049-16A2BDD80355}"/>
                </a:ext>
              </a:extLst>
            </p:cNvPr>
            <p:cNvGrpSpPr/>
            <p:nvPr/>
          </p:nvGrpSpPr>
          <p:grpSpPr>
            <a:xfrm>
              <a:off x="6310307" y="1713609"/>
              <a:ext cx="545687" cy="847725"/>
              <a:chOff x="4499573" y="1585064"/>
              <a:chExt cx="545687" cy="847725"/>
            </a:xfrm>
          </p:grpSpPr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C5452E65-A06E-BCD3-2833-D247853278EB}"/>
                  </a:ext>
                </a:extLst>
              </p:cNvPr>
              <p:cNvSpPr/>
              <p:nvPr/>
            </p:nvSpPr>
            <p:spPr>
              <a:xfrm>
                <a:off x="4543817" y="1585064"/>
                <a:ext cx="457200" cy="571500"/>
              </a:xfrm>
              <a:custGeom>
                <a:avLst/>
                <a:gdLst>
                  <a:gd name="connsiteX0" fmla="*/ 76200 w 457200"/>
                  <a:gd name="connsiteY0" fmla="*/ 0 h 571500"/>
                  <a:gd name="connsiteX1" fmla="*/ 0 w 457200"/>
                  <a:gd name="connsiteY1" fmla="*/ 76200 h 571500"/>
                  <a:gd name="connsiteX2" fmla="*/ 0 w 457200"/>
                  <a:gd name="connsiteY2" fmla="*/ 514350 h 571500"/>
                  <a:gd name="connsiteX3" fmla="*/ 57150 w 457200"/>
                  <a:gd name="connsiteY3" fmla="*/ 571500 h 571500"/>
                  <a:gd name="connsiteX4" fmla="*/ 400050 w 457200"/>
                  <a:gd name="connsiteY4" fmla="*/ 571500 h 571500"/>
                  <a:gd name="connsiteX5" fmla="*/ 457200 w 457200"/>
                  <a:gd name="connsiteY5" fmla="*/ 514350 h 571500"/>
                  <a:gd name="connsiteX6" fmla="*/ 457200 w 457200"/>
                  <a:gd name="connsiteY6" fmla="*/ 76200 h 571500"/>
                  <a:gd name="connsiteX7" fmla="*/ 381000 w 457200"/>
                  <a:gd name="connsiteY7" fmla="*/ 0 h 571500"/>
                  <a:gd name="connsiteX8" fmla="*/ 438150 w 457200"/>
                  <a:gd name="connsiteY8" fmla="*/ 95250 h 571500"/>
                  <a:gd name="connsiteX9" fmla="*/ 438150 w 457200"/>
                  <a:gd name="connsiteY9" fmla="*/ 314325 h 571500"/>
                  <a:gd name="connsiteX10" fmla="*/ 19050 w 457200"/>
                  <a:gd name="connsiteY10" fmla="*/ 314325 h 571500"/>
                  <a:gd name="connsiteX11" fmla="*/ 19050 w 457200"/>
                  <a:gd name="connsiteY11" fmla="*/ 95250 h 571500"/>
                  <a:gd name="connsiteX12" fmla="*/ 190500 w 457200"/>
                  <a:gd name="connsiteY12" fmla="*/ 95250 h 571500"/>
                  <a:gd name="connsiteX13" fmla="*/ 190500 w 457200"/>
                  <a:gd name="connsiteY13" fmla="*/ 85725 h 571500"/>
                  <a:gd name="connsiteX14" fmla="*/ 200025 w 457200"/>
                  <a:gd name="connsiteY14" fmla="*/ 76200 h 571500"/>
                  <a:gd name="connsiteX15" fmla="*/ 257175 w 457200"/>
                  <a:gd name="connsiteY15" fmla="*/ 76200 h 571500"/>
                  <a:gd name="connsiteX16" fmla="*/ 266700 w 457200"/>
                  <a:gd name="connsiteY16" fmla="*/ 85725 h 571500"/>
                  <a:gd name="connsiteX17" fmla="*/ 266700 w 457200"/>
                  <a:gd name="connsiteY17" fmla="*/ 95250 h 571500"/>
                  <a:gd name="connsiteX18" fmla="*/ 400050 w 457200"/>
                  <a:gd name="connsiteY18" fmla="*/ 552450 h 571500"/>
                  <a:gd name="connsiteX19" fmla="*/ 57150 w 457200"/>
                  <a:gd name="connsiteY19" fmla="*/ 552450 h 571500"/>
                  <a:gd name="connsiteX20" fmla="*/ 19050 w 457200"/>
                  <a:gd name="connsiteY20" fmla="*/ 514350 h 571500"/>
                  <a:gd name="connsiteX21" fmla="*/ 19050 w 457200"/>
                  <a:gd name="connsiteY21" fmla="*/ 333375 h 571500"/>
                  <a:gd name="connsiteX22" fmla="*/ 438150 w 457200"/>
                  <a:gd name="connsiteY22" fmla="*/ 333375 h 571500"/>
                  <a:gd name="connsiteX23" fmla="*/ 438150 w 457200"/>
                  <a:gd name="connsiteY23" fmla="*/ 514350 h 571500"/>
                  <a:gd name="connsiteX24" fmla="*/ 400050 w 457200"/>
                  <a:gd name="connsiteY24" fmla="*/ 552450 h 571500"/>
                  <a:gd name="connsiteX25" fmla="*/ 438150 w 457200"/>
                  <a:gd name="connsiteY25" fmla="*/ 76200 h 571500"/>
                  <a:gd name="connsiteX26" fmla="*/ 284140 w 457200"/>
                  <a:gd name="connsiteY26" fmla="*/ 76200 h 571500"/>
                  <a:gd name="connsiteX27" fmla="*/ 257175 w 457200"/>
                  <a:gd name="connsiteY27" fmla="*/ 57150 h 571500"/>
                  <a:gd name="connsiteX28" fmla="*/ 200025 w 457200"/>
                  <a:gd name="connsiteY28" fmla="*/ 57150 h 571500"/>
                  <a:gd name="connsiteX29" fmla="*/ 173079 w 457200"/>
                  <a:gd name="connsiteY29" fmla="*/ 76200 h 571500"/>
                  <a:gd name="connsiteX30" fmla="*/ 19050 w 457200"/>
                  <a:gd name="connsiteY30" fmla="*/ 76200 h 571500"/>
                  <a:gd name="connsiteX31" fmla="*/ 76200 w 457200"/>
                  <a:gd name="connsiteY31" fmla="*/ 19050 h 571500"/>
                  <a:gd name="connsiteX32" fmla="*/ 381000 w 457200"/>
                  <a:gd name="connsiteY32" fmla="*/ 19050 h 571500"/>
                  <a:gd name="connsiteX33" fmla="*/ 438150 w 457200"/>
                  <a:gd name="connsiteY33" fmla="*/ 76200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57200" h="571500">
                    <a:moveTo>
                      <a:pt x="76200" y="0"/>
                    </a:moveTo>
                    <a:cubicBezTo>
                      <a:pt x="34170" y="131"/>
                      <a:pt x="130" y="34170"/>
                      <a:pt x="0" y="76200"/>
                    </a:cubicBezTo>
                    <a:lnTo>
                      <a:pt x="0" y="514350"/>
                    </a:lnTo>
                    <a:cubicBezTo>
                      <a:pt x="99" y="545872"/>
                      <a:pt x="25628" y="571401"/>
                      <a:pt x="57150" y="571500"/>
                    </a:cubicBezTo>
                    <a:lnTo>
                      <a:pt x="400050" y="571500"/>
                    </a:lnTo>
                    <a:cubicBezTo>
                      <a:pt x="431570" y="571395"/>
                      <a:pt x="457095" y="545870"/>
                      <a:pt x="457200" y="514350"/>
                    </a:cubicBezTo>
                    <a:lnTo>
                      <a:pt x="457200" y="76200"/>
                    </a:lnTo>
                    <a:cubicBezTo>
                      <a:pt x="457070" y="34170"/>
                      <a:pt x="423030" y="131"/>
                      <a:pt x="381000" y="0"/>
                    </a:cubicBezTo>
                    <a:close/>
                    <a:moveTo>
                      <a:pt x="438150" y="95250"/>
                    </a:moveTo>
                    <a:lnTo>
                      <a:pt x="438150" y="314325"/>
                    </a:lnTo>
                    <a:lnTo>
                      <a:pt x="19050" y="314325"/>
                    </a:lnTo>
                    <a:lnTo>
                      <a:pt x="19050" y="95250"/>
                    </a:lnTo>
                    <a:lnTo>
                      <a:pt x="190500" y="95250"/>
                    </a:lnTo>
                    <a:lnTo>
                      <a:pt x="190500" y="85725"/>
                    </a:lnTo>
                    <a:cubicBezTo>
                      <a:pt x="190500" y="80464"/>
                      <a:pt x="194764" y="76200"/>
                      <a:pt x="200025" y="76200"/>
                    </a:cubicBezTo>
                    <a:lnTo>
                      <a:pt x="257175" y="76200"/>
                    </a:lnTo>
                    <a:cubicBezTo>
                      <a:pt x="262436" y="76200"/>
                      <a:pt x="266700" y="80464"/>
                      <a:pt x="266700" y="85725"/>
                    </a:cubicBezTo>
                    <a:lnTo>
                      <a:pt x="266700" y="95250"/>
                    </a:lnTo>
                    <a:close/>
                    <a:moveTo>
                      <a:pt x="400050" y="552450"/>
                    </a:moveTo>
                    <a:lnTo>
                      <a:pt x="57150" y="552450"/>
                    </a:lnTo>
                    <a:cubicBezTo>
                      <a:pt x="36121" y="552419"/>
                      <a:pt x="19081" y="535379"/>
                      <a:pt x="19050" y="514350"/>
                    </a:cubicBezTo>
                    <a:lnTo>
                      <a:pt x="19050" y="333375"/>
                    </a:lnTo>
                    <a:lnTo>
                      <a:pt x="438150" y="333375"/>
                    </a:lnTo>
                    <a:lnTo>
                      <a:pt x="438150" y="514350"/>
                    </a:lnTo>
                    <a:cubicBezTo>
                      <a:pt x="438119" y="535379"/>
                      <a:pt x="421079" y="552419"/>
                      <a:pt x="400050" y="552450"/>
                    </a:cubicBezTo>
                    <a:close/>
                    <a:moveTo>
                      <a:pt x="438150" y="76200"/>
                    </a:moveTo>
                    <a:lnTo>
                      <a:pt x="284140" y="76200"/>
                    </a:lnTo>
                    <a:cubicBezTo>
                      <a:pt x="280086" y="64785"/>
                      <a:pt x="269288" y="57157"/>
                      <a:pt x="257175" y="57150"/>
                    </a:cubicBezTo>
                    <a:lnTo>
                      <a:pt x="200025" y="57150"/>
                    </a:lnTo>
                    <a:cubicBezTo>
                      <a:pt x="187919" y="57165"/>
                      <a:pt x="177131" y="64792"/>
                      <a:pt x="173079" y="76200"/>
                    </a:cubicBezTo>
                    <a:lnTo>
                      <a:pt x="19050" y="76200"/>
                    </a:lnTo>
                    <a:cubicBezTo>
                      <a:pt x="19092" y="44654"/>
                      <a:pt x="44654" y="19092"/>
                      <a:pt x="76200" y="19050"/>
                    </a:cubicBezTo>
                    <a:lnTo>
                      <a:pt x="381000" y="19050"/>
                    </a:lnTo>
                    <a:cubicBezTo>
                      <a:pt x="412548" y="19087"/>
                      <a:pt x="438113" y="44652"/>
                      <a:pt x="438150" y="7620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69F2B360-3CD7-42FE-FBD7-D0621F4ADEFF}"/>
                  </a:ext>
                </a:extLst>
              </p:cNvPr>
              <p:cNvSpPr/>
              <p:nvPr/>
            </p:nvSpPr>
            <p:spPr>
              <a:xfrm>
                <a:off x="4591442" y="2032736"/>
                <a:ext cx="76202" cy="76202"/>
              </a:xfrm>
              <a:custGeom>
                <a:avLst/>
                <a:gdLst>
                  <a:gd name="connsiteX0" fmla="*/ 38100 w 76202"/>
                  <a:gd name="connsiteY0" fmla="*/ 2 h 76202"/>
                  <a:gd name="connsiteX1" fmla="*/ 0 w 76202"/>
                  <a:gd name="connsiteY1" fmla="*/ 38102 h 76202"/>
                  <a:gd name="connsiteX2" fmla="*/ 38100 w 76202"/>
                  <a:gd name="connsiteY2" fmla="*/ 76202 h 76202"/>
                  <a:gd name="connsiteX3" fmla="*/ 76200 w 76202"/>
                  <a:gd name="connsiteY3" fmla="*/ 38102 h 76202"/>
                  <a:gd name="connsiteX4" fmla="*/ 38904 w 76202"/>
                  <a:gd name="connsiteY4" fmla="*/ 2 h 76202"/>
                  <a:gd name="connsiteX5" fmla="*/ 38100 w 76202"/>
                  <a:gd name="connsiteY5" fmla="*/ 2 h 76202"/>
                  <a:gd name="connsiteX6" fmla="*/ 38100 w 76202"/>
                  <a:gd name="connsiteY6" fmla="*/ 57152 h 76202"/>
                  <a:gd name="connsiteX7" fmla="*/ 19050 w 76202"/>
                  <a:gd name="connsiteY7" fmla="*/ 38102 h 76202"/>
                  <a:gd name="connsiteX8" fmla="*/ 38100 w 76202"/>
                  <a:gd name="connsiteY8" fmla="*/ 19052 h 76202"/>
                  <a:gd name="connsiteX9" fmla="*/ 57150 w 76202"/>
                  <a:gd name="connsiteY9" fmla="*/ 38102 h 76202"/>
                  <a:gd name="connsiteX10" fmla="*/ 38948 w 76202"/>
                  <a:gd name="connsiteY10" fmla="*/ 57152 h 76202"/>
                  <a:gd name="connsiteX11" fmla="*/ 38100 w 76202"/>
                  <a:gd name="connsiteY11" fmla="*/ 57152 h 7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202" h="76202">
                    <a:moveTo>
                      <a:pt x="38100" y="2"/>
                    </a:moveTo>
                    <a:cubicBezTo>
                      <a:pt x="17058" y="2"/>
                      <a:pt x="0" y="17060"/>
                      <a:pt x="0" y="38102"/>
                    </a:cubicBezTo>
                    <a:cubicBezTo>
                      <a:pt x="0" y="59144"/>
                      <a:pt x="17058" y="76202"/>
                      <a:pt x="38100" y="76202"/>
                    </a:cubicBezTo>
                    <a:cubicBezTo>
                      <a:pt x="59142" y="76202"/>
                      <a:pt x="76200" y="59144"/>
                      <a:pt x="76200" y="38102"/>
                    </a:cubicBezTo>
                    <a:cubicBezTo>
                      <a:pt x="76422" y="17282"/>
                      <a:pt x="59725" y="224"/>
                      <a:pt x="38904" y="2"/>
                    </a:cubicBezTo>
                    <a:cubicBezTo>
                      <a:pt x="38636" y="-1"/>
                      <a:pt x="38368" y="-1"/>
                      <a:pt x="38100" y="2"/>
                    </a:cubicBezTo>
                    <a:close/>
                    <a:moveTo>
                      <a:pt x="38100" y="57152"/>
                    </a:moveTo>
                    <a:cubicBezTo>
                      <a:pt x="27579" y="57152"/>
                      <a:pt x="19050" y="48623"/>
                      <a:pt x="19050" y="38102"/>
                    </a:cubicBezTo>
                    <a:cubicBezTo>
                      <a:pt x="19050" y="27581"/>
                      <a:pt x="27579" y="19052"/>
                      <a:pt x="38100" y="19052"/>
                    </a:cubicBezTo>
                    <a:cubicBezTo>
                      <a:pt x="48621" y="19052"/>
                      <a:pt x="57150" y="27581"/>
                      <a:pt x="57150" y="38102"/>
                    </a:cubicBezTo>
                    <a:cubicBezTo>
                      <a:pt x="57384" y="48389"/>
                      <a:pt x="49235" y="56918"/>
                      <a:pt x="38948" y="57152"/>
                    </a:cubicBezTo>
                    <a:cubicBezTo>
                      <a:pt x="38665" y="57159"/>
                      <a:pt x="38383" y="57159"/>
                      <a:pt x="38100" y="5715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599EB142-5BFF-4B13-22D1-F72CF572E9D7}"/>
                  </a:ext>
                </a:extLst>
              </p:cNvPr>
              <p:cNvSpPr/>
              <p:nvPr/>
            </p:nvSpPr>
            <p:spPr>
              <a:xfrm>
                <a:off x="4877192" y="2032736"/>
                <a:ext cx="76202" cy="76202"/>
              </a:xfrm>
              <a:custGeom>
                <a:avLst/>
                <a:gdLst>
                  <a:gd name="connsiteX0" fmla="*/ 38100 w 76202"/>
                  <a:gd name="connsiteY0" fmla="*/ 2 h 76202"/>
                  <a:gd name="connsiteX1" fmla="*/ 0 w 76202"/>
                  <a:gd name="connsiteY1" fmla="*/ 38102 h 76202"/>
                  <a:gd name="connsiteX2" fmla="*/ 38100 w 76202"/>
                  <a:gd name="connsiteY2" fmla="*/ 76202 h 76202"/>
                  <a:gd name="connsiteX3" fmla="*/ 76200 w 76202"/>
                  <a:gd name="connsiteY3" fmla="*/ 38102 h 76202"/>
                  <a:gd name="connsiteX4" fmla="*/ 38904 w 76202"/>
                  <a:gd name="connsiteY4" fmla="*/ 2 h 76202"/>
                  <a:gd name="connsiteX5" fmla="*/ 38100 w 76202"/>
                  <a:gd name="connsiteY5" fmla="*/ 2 h 76202"/>
                  <a:gd name="connsiteX6" fmla="*/ 38100 w 76202"/>
                  <a:gd name="connsiteY6" fmla="*/ 57152 h 76202"/>
                  <a:gd name="connsiteX7" fmla="*/ 19050 w 76202"/>
                  <a:gd name="connsiteY7" fmla="*/ 38102 h 76202"/>
                  <a:gd name="connsiteX8" fmla="*/ 38100 w 76202"/>
                  <a:gd name="connsiteY8" fmla="*/ 19052 h 76202"/>
                  <a:gd name="connsiteX9" fmla="*/ 57150 w 76202"/>
                  <a:gd name="connsiteY9" fmla="*/ 38102 h 76202"/>
                  <a:gd name="connsiteX10" fmla="*/ 38948 w 76202"/>
                  <a:gd name="connsiteY10" fmla="*/ 57152 h 76202"/>
                  <a:gd name="connsiteX11" fmla="*/ 38100 w 76202"/>
                  <a:gd name="connsiteY11" fmla="*/ 57152 h 7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202" h="76202">
                    <a:moveTo>
                      <a:pt x="38100" y="2"/>
                    </a:moveTo>
                    <a:cubicBezTo>
                      <a:pt x="17058" y="2"/>
                      <a:pt x="0" y="17060"/>
                      <a:pt x="0" y="38102"/>
                    </a:cubicBezTo>
                    <a:cubicBezTo>
                      <a:pt x="0" y="59144"/>
                      <a:pt x="17058" y="76202"/>
                      <a:pt x="38100" y="76202"/>
                    </a:cubicBezTo>
                    <a:cubicBezTo>
                      <a:pt x="59142" y="76202"/>
                      <a:pt x="76200" y="59144"/>
                      <a:pt x="76200" y="38102"/>
                    </a:cubicBezTo>
                    <a:cubicBezTo>
                      <a:pt x="76422" y="17282"/>
                      <a:pt x="59725" y="224"/>
                      <a:pt x="38904" y="2"/>
                    </a:cubicBezTo>
                    <a:cubicBezTo>
                      <a:pt x="38636" y="-1"/>
                      <a:pt x="38368" y="-1"/>
                      <a:pt x="38100" y="2"/>
                    </a:cubicBezTo>
                    <a:close/>
                    <a:moveTo>
                      <a:pt x="38100" y="57152"/>
                    </a:moveTo>
                    <a:cubicBezTo>
                      <a:pt x="27579" y="57152"/>
                      <a:pt x="19050" y="48623"/>
                      <a:pt x="19050" y="38102"/>
                    </a:cubicBezTo>
                    <a:cubicBezTo>
                      <a:pt x="19050" y="27581"/>
                      <a:pt x="27579" y="19052"/>
                      <a:pt x="38100" y="19052"/>
                    </a:cubicBezTo>
                    <a:cubicBezTo>
                      <a:pt x="48621" y="19052"/>
                      <a:pt x="57150" y="27581"/>
                      <a:pt x="57150" y="38102"/>
                    </a:cubicBezTo>
                    <a:cubicBezTo>
                      <a:pt x="57384" y="48389"/>
                      <a:pt x="49235" y="56918"/>
                      <a:pt x="38948" y="57152"/>
                    </a:cubicBezTo>
                    <a:cubicBezTo>
                      <a:pt x="38665" y="57159"/>
                      <a:pt x="38383" y="57159"/>
                      <a:pt x="38100" y="5715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FFF1E59E-A31F-A1A6-DECF-622D4FEAD096}"/>
                  </a:ext>
                </a:extLst>
              </p:cNvPr>
              <p:cNvSpPr/>
              <p:nvPr/>
            </p:nvSpPr>
            <p:spPr>
              <a:xfrm>
                <a:off x="4499573" y="2185139"/>
                <a:ext cx="545687" cy="247650"/>
              </a:xfrm>
              <a:custGeom>
                <a:avLst/>
                <a:gdLst>
                  <a:gd name="connsiteX0" fmla="*/ 412947 w 545687"/>
                  <a:gd name="connsiteY0" fmla="*/ 0 h 247650"/>
                  <a:gd name="connsiteX1" fmla="*/ 425853 w 545687"/>
                  <a:gd name="connsiteY1" fmla="*/ 28575 h 247650"/>
                  <a:gd name="connsiteX2" fmla="*/ 119834 w 545687"/>
                  <a:gd name="connsiteY2" fmla="*/ 28575 h 247650"/>
                  <a:gd name="connsiteX3" fmla="*/ 132740 w 545687"/>
                  <a:gd name="connsiteY3" fmla="*/ 0 h 247650"/>
                  <a:gd name="connsiteX4" fmla="*/ 111871 w 545687"/>
                  <a:gd name="connsiteY4" fmla="*/ 0 h 247650"/>
                  <a:gd name="connsiteX5" fmla="*/ 0 w 545687"/>
                  <a:gd name="connsiteY5" fmla="*/ 247650 h 247650"/>
                  <a:gd name="connsiteX6" fmla="*/ 20898 w 545687"/>
                  <a:gd name="connsiteY6" fmla="*/ 247650 h 247650"/>
                  <a:gd name="connsiteX7" fmla="*/ 42405 w 545687"/>
                  <a:gd name="connsiteY7" fmla="*/ 200025 h 247650"/>
                  <a:gd name="connsiteX8" fmla="*/ 503282 w 545687"/>
                  <a:gd name="connsiteY8" fmla="*/ 200025 h 247650"/>
                  <a:gd name="connsiteX9" fmla="*/ 524789 w 545687"/>
                  <a:gd name="connsiteY9" fmla="*/ 247650 h 247650"/>
                  <a:gd name="connsiteX10" fmla="*/ 545687 w 545687"/>
                  <a:gd name="connsiteY10" fmla="*/ 247650 h 247650"/>
                  <a:gd name="connsiteX11" fmla="*/ 433816 w 545687"/>
                  <a:gd name="connsiteY11" fmla="*/ 0 h 247650"/>
                  <a:gd name="connsiteX12" fmla="*/ 494681 w 545687"/>
                  <a:gd name="connsiteY12" fmla="*/ 180975 h 247650"/>
                  <a:gd name="connsiteX13" fmla="*/ 51006 w 545687"/>
                  <a:gd name="connsiteY13" fmla="*/ 180975 h 247650"/>
                  <a:gd name="connsiteX14" fmla="*/ 76819 w 545687"/>
                  <a:gd name="connsiteY14" fmla="*/ 123825 h 247650"/>
                  <a:gd name="connsiteX15" fmla="*/ 468868 w 545687"/>
                  <a:gd name="connsiteY15" fmla="*/ 123825 h 247650"/>
                  <a:gd name="connsiteX16" fmla="*/ 460267 w 545687"/>
                  <a:gd name="connsiteY16" fmla="*/ 104775 h 247650"/>
                  <a:gd name="connsiteX17" fmla="*/ 85420 w 545687"/>
                  <a:gd name="connsiteY17" fmla="*/ 104775 h 247650"/>
                  <a:gd name="connsiteX18" fmla="*/ 111233 w 545687"/>
                  <a:gd name="connsiteY18" fmla="*/ 47625 h 247650"/>
                  <a:gd name="connsiteX19" fmla="*/ 434464 w 545687"/>
                  <a:gd name="connsiteY19" fmla="*/ 4762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45687" h="247650">
                    <a:moveTo>
                      <a:pt x="412947" y="0"/>
                    </a:moveTo>
                    <a:lnTo>
                      <a:pt x="425853" y="28575"/>
                    </a:lnTo>
                    <a:lnTo>
                      <a:pt x="119834" y="28575"/>
                    </a:lnTo>
                    <a:lnTo>
                      <a:pt x="132740" y="0"/>
                    </a:lnTo>
                    <a:lnTo>
                      <a:pt x="111871" y="0"/>
                    </a:lnTo>
                    <a:lnTo>
                      <a:pt x="0" y="247650"/>
                    </a:lnTo>
                    <a:lnTo>
                      <a:pt x="20898" y="247650"/>
                    </a:lnTo>
                    <a:lnTo>
                      <a:pt x="42405" y="200025"/>
                    </a:lnTo>
                    <a:lnTo>
                      <a:pt x="503282" y="200025"/>
                    </a:lnTo>
                    <a:lnTo>
                      <a:pt x="524789" y="247650"/>
                    </a:lnTo>
                    <a:lnTo>
                      <a:pt x="545687" y="247650"/>
                    </a:lnTo>
                    <a:lnTo>
                      <a:pt x="433816" y="0"/>
                    </a:lnTo>
                    <a:close/>
                    <a:moveTo>
                      <a:pt x="494681" y="180975"/>
                    </a:moveTo>
                    <a:lnTo>
                      <a:pt x="51006" y="180975"/>
                    </a:lnTo>
                    <a:lnTo>
                      <a:pt x="76819" y="123825"/>
                    </a:lnTo>
                    <a:lnTo>
                      <a:pt x="468868" y="123825"/>
                    </a:lnTo>
                    <a:close/>
                    <a:moveTo>
                      <a:pt x="460267" y="104775"/>
                    </a:moveTo>
                    <a:lnTo>
                      <a:pt x="85420" y="104775"/>
                    </a:lnTo>
                    <a:lnTo>
                      <a:pt x="111233" y="47625"/>
                    </a:lnTo>
                    <a:lnTo>
                      <a:pt x="434464" y="4762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3B74B78-174B-34A9-2FE4-B6C2A38F799F}"/>
              </a:ext>
            </a:extLst>
          </p:cNvPr>
          <p:cNvGrpSpPr/>
          <p:nvPr/>
        </p:nvGrpSpPr>
        <p:grpSpPr>
          <a:xfrm>
            <a:off x="2161391" y="337892"/>
            <a:ext cx="1327759" cy="1327759"/>
            <a:chOff x="5429338" y="1521259"/>
            <a:chExt cx="1327759" cy="132775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5F4128C-0703-F052-263C-D44116D4DC10}"/>
                </a:ext>
              </a:extLst>
            </p:cNvPr>
            <p:cNvSpPr/>
            <p:nvPr/>
          </p:nvSpPr>
          <p:spPr>
            <a:xfrm>
              <a:off x="5429338" y="1521259"/>
              <a:ext cx="1327759" cy="132775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5" name="Grafik 13" descr="Baum mit Wurzeln Silhouette">
              <a:extLst>
                <a:ext uri="{FF2B5EF4-FFF2-40B4-BE49-F238E27FC236}">
                  <a16:creationId xmlns:a16="http://schemas.microsoft.com/office/drawing/2014/main" id="{BBEA08D3-D58F-3AE2-8385-0175B02F26F9}"/>
                </a:ext>
              </a:extLst>
            </p:cNvPr>
            <p:cNvGrpSpPr/>
            <p:nvPr/>
          </p:nvGrpSpPr>
          <p:grpSpPr>
            <a:xfrm>
              <a:off x="5726531" y="1758060"/>
              <a:ext cx="733372" cy="854156"/>
              <a:chOff x="2767570" y="1575537"/>
              <a:chExt cx="733372" cy="854156"/>
            </a:xfrm>
            <a:solidFill>
              <a:schemeClr val="bg1"/>
            </a:solidFill>
          </p:grpSpPr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B5747EE3-D1A7-5746-89E5-22EDB569EFBF}"/>
                  </a:ext>
                </a:extLst>
              </p:cNvPr>
              <p:cNvSpPr/>
              <p:nvPr/>
            </p:nvSpPr>
            <p:spPr>
              <a:xfrm>
                <a:off x="2767570" y="1575537"/>
                <a:ext cx="733372" cy="762005"/>
              </a:xfrm>
              <a:custGeom>
                <a:avLst/>
                <a:gdLst>
                  <a:gd name="connsiteX0" fmla="*/ 287422 w 733372"/>
                  <a:gd name="connsiteY0" fmla="*/ 675746 h 762005"/>
                  <a:gd name="connsiteX1" fmla="*/ 327633 w 733372"/>
                  <a:gd name="connsiteY1" fmla="*/ 558600 h 762005"/>
                  <a:gd name="connsiteX2" fmla="*/ 210166 w 733372"/>
                  <a:gd name="connsiteY2" fmla="*/ 455921 h 762005"/>
                  <a:gd name="connsiteX3" fmla="*/ 235497 w 733372"/>
                  <a:gd name="connsiteY3" fmla="*/ 447781 h 762005"/>
                  <a:gd name="connsiteX4" fmla="*/ 237899 w 733372"/>
                  <a:gd name="connsiteY4" fmla="*/ 449188 h 762005"/>
                  <a:gd name="connsiteX5" fmla="*/ 320015 w 733372"/>
                  <a:gd name="connsiteY5" fmla="*/ 512106 h 762005"/>
                  <a:gd name="connsiteX6" fmla="*/ 336479 w 733372"/>
                  <a:gd name="connsiteY6" fmla="*/ 529602 h 762005"/>
                  <a:gd name="connsiteX7" fmla="*/ 336479 w 733372"/>
                  <a:gd name="connsiteY7" fmla="*/ 505580 h 762005"/>
                  <a:gd name="connsiteX8" fmla="*/ 317977 w 733372"/>
                  <a:gd name="connsiteY8" fmla="*/ 415673 h 762005"/>
                  <a:gd name="connsiteX9" fmla="*/ 341963 w 733372"/>
                  <a:gd name="connsiteY9" fmla="*/ 417541 h 762005"/>
                  <a:gd name="connsiteX10" fmla="*/ 356719 w 733372"/>
                  <a:gd name="connsiteY10" fmla="*/ 478927 h 762005"/>
                  <a:gd name="connsiteX11" fmla="*/ 362022 w 733372"/>
                  <a:gd name="connsiteY11" fmla="*/ 523036 h 762005"/>
                  <a:gd name="connsiteX12" fmla="*/ 375271 w 733372"/>
                  <a:gd name="connsiteY12" fmla="*/ 480633 h 762005"/>
                  <a:gd name="connsiteX13" fmla="*/ 404147 w 733372"/>
                  <a:gd name="connsiteY13" fmla="*/ 410931 h 762005"/>
                  <a:gd name="connsiteX14" fmla="*/ 434231 w 733372"/>
                  <a:gd name="connsiteY14" fmla="*/ 401158 h 762005"/>
                  <a:gd name="connsiteX15" fmla="*/ 434344 w 733372"/>
                  <a:gd name="connsiteY15" fmla="*/ 401200 h 762005"/>
                  <a:gd name="connsiteX16" fmla="*/ 434339 w 733372"/>
                  <a:gd name="connsiteY16" fmla="*/ 401281 h 762005"/>
                  <a:gd name="connsiteX17" fmla="*/ 392226 w 733372"/>
                  <a:gd name="connsiteY17" fmla="*/ 498617 h 762005"/>
                  <a:gd name="connsiteX18" fmla="*/ 383245 w 733372"/>
                  <a:gd name="connsiteY18" fmla="*/ 526951 h 762005"/>
                  <a:gd name="connsiteX19" fmla="*/ 407019 w 733372"/>
                  <a:gd name="connsiteY19" fmla="*/ 509113 h 762005"/>
                  <a:gd name="connsiteX20" fmla="*/ 473378 w 733372"/>
                  <a:gd name="connsiteY20" fmla="*/ 471604 h 762005"/>
                  <a:gd name="connsiteX21" fmla="*/ 561976 w 733372"/>
                  <a:gd name="connsiteY21" fmla="*/ 404022 h 762005"/>
                  <a:gd name="connsiteX22" fmla="*/ 562018 w 733372"/>
                  <a:gd name="connsiteY22" fmla="*/ 404010 h 762005"/>
                  <a:gd name="connsiteX23" fmla="*/ 583886 w 733372"/>
                  <a:gd name="connsiteY23" fmla="*/ 416816 h 762005"/>
                  <a:gd name="connsiteX24" fmla="*/ 485763 w 733372"/>
                  <a:gd name="connsiteY24" fmla="*/ 491301 h 762005"/>
                  <a:gd name="connsiteX25" fmla="*/ 393174 w 733372"/>
                  <a:gd name="connsiteY25" fmla="*/ 567556 h 762005"/>
                  <a:gd name="connsiteX26" fmla="*/ 440850 w 733372"/>
                  <a:gd name="connsiteY26" fmla="*/ 681740 h 762005"/>
                  <a:gd name="connsiteX27" fmla="*/ 505587 w 733372"/>
                  <a:gd name="connsiteY27" fmla="*/ 697924 h 762005"/>
                  <a:gd name="connsiteX28" fmla="*/ 524840 w 733372"/>
                  <a:gd name="connsiteY28" fmla="*/ 722645 h 762005"/>
                  <a:gd name="connsiteX29" fmla="*/ 558954 w 733372"/>
                  <a:gd name="connsiteY29" fmla="*/ 760396 h 762005"/>
                  <a:gd name="connsiteX30" fmla="*/ 572164 w 733372"/>
                  <a:gd name="connsiteY30" fmla="*/ 757756 h 762005"/>
                  <a:gd name="connsiteX31" fmla="*/ 572682 w 733372"/>
                  <a:gd name="connsiteY31" fmla="*/ 756881 h 762005"/>
                  <a:gd name="connsiteX32" fmla="*/ 569230 w 733372"/>
                  <a:gd name="connsiteY32" fmla="*/ 744350 h 762005"/>
                  <a:gd name="connsiteX33" fmla="*/ 540569 w 733372"/>
                  <a:gd name="connsiteY33" fmla="*/ 711901 h 762005"/>
                  <a:gd name="connsiteX34" fmla="*/ 533582 w 733372"/>
                  <a:gd name="connsiteY34" fmla="*/ 701981 h 762005"/>
                  <a:gd name="connsiteX35" fmla="*/ 649576 w 733372"/>
                  <a:gd name="connsiteY35" fmla="*/ 723580 h 762005"/>
                  <a:gd name="connsiteX36" fmla="*/ 652018 w 733372"/>
                  <a:gd name="connsiteY36" fmla="*/ 723902 h 762005"/>
                  <a:gd name="connsiteX37" fmla="*/ 661341 w 733372"/>
                  <a:gd name="connsiteY37" fmla="*/ 716311 h 762005"/>
                  <a:gd name="connsiteX38" fmla="*/ 653931 w 733372"/>
                  <a:gd name="connsiteY38" fmla="*/ 705031 h 762005"/>
                  <a:gd name="connsiteX39" fmla="*/ 535726 w 733372"/>
                  <a:gd name="connsiteY39" fmla="*/ 683048 h 762005"/>
                  <a:gd name="connsiteX40" fmla="*/ 448973 w 733372"/>
                  <a:gd name="connsiteY40" fmla="*/ 664519 h 762005"/>
                  <a:gd name="connsiteX41" fmla="*/ 411836 w 733372"/>
                  <a:gd name="connsiteY41" fmla="*/ 571390 h 762005"/>
                  <a:gd name="connsiteX42" fmla="*/ 494152 w 733372"/>
                  <a:gd name="connsiteY42" fmla="*/ 508413 h 762005"/>
                  <a:gd name="connsiteX43" fmla="*/ 602094 w 733372"/>
                  <a:gd name="connsiteY43" fmla="*/ 422859 h 762005"/>
                  <a:gd name="connsiteX44" fmla="*/ 730511 w 733372"/>
                  <a:gd name="connsiteY44" fmla="*/ 343441 h 762005"/>
                  <a:gd name="connsiteX45" fmla="*/ 670088 w 733372"/>
                  <a:gd name="connsiteY45" fmla="*/ 221436 h 762005"/>
                  <a:gd name="connsiteX46" fmla="*/ 611345 w 733372"/>
                  <a:gd name="connsiteY46" fmla="*/ 137733 h 762005"/>
                  <a:gd name="connsiteX47" fmla="*/ 560466 w 733372"/>
                  <a:gd name="connsiteY47" fmla="*/ 49953 h 762005"/>
                  <a:gd name="connsiteX48" fmla="*/ 513137 w 733372"/>
                  <a:gd name="connsiteY48" fmla="*/ 33352 h 762005"/>
                  <a:gd name="connsiteX49" fmla="*/ 456935 w 733372"/>
                  <a:gd name="connsiteY49" fmla="*/ 41678 h 762005"/>
                  <a:gd name="connsiteX50" fmla="*/ 369854 w 733372"/>
                  <a:gd name="connsiteY50" fmla="*/ 2 h 762005"/>
                  <a:gd name="connsiteX51" fmla="*/ 267567 w 733372"/>
                  <a:gd name="connsiteY51" fmla="*/ 66677 h 762005"/>
                  <a:gd name="connsiteX52" fmla="*/ 163857 w 733372"/>
                  <a:gd name="connsiteY52" fmla="*/ 74467 h 762005"/>
                  <a:gd name="connsiteX53" fmla="*/ 111614 w 733372"/>
                  <a:gd name="connsiteY53" fmla="*/ 158416 h 762005"/>
                  <a:gd name="connsiteX54" fmla="*/ 111242 w 733372"/>
                  <a:gd name="connsiteY54" fmla="*/ 165052 h 762005"/>
                  <a:gd name="connsiteX55" fmla="*/ 56394 w 733372"/>
                  <a:gd name="connsiteY55" fmla="*/ 242438 h 762005"/>
                  <a:gd name="connsiteX56" fmla="*/ 17152 w 733372"/>
                  <a:gd name="connsiteY56" fmla="*/ 403861 h 762005"/>
                  <a:gd name="connsiteX57" fmla="*/ 160532 w 733372"/>
                  <a:gd name="connsiteY57" fmla="*/ 452067 h 762005"/>
                  <a:gd name="connsiteX58" fmla="*/ 311011 w 733372"/>
                  <a:gd name="connsiteY58" fmla="*/ 567902 h 762005"/>
                  <a:gd name="connsiteX59" fmla="*/ 275528 w 733372"/>
                  <a:gd name="connsiteY59" fmla="*/ 660771 h 762005"/>
                  <a:gd name="connsiteX60" fmla="*/ 167015 w 733372"/>
                  <a:gd name="connsiteY60" fmla="*/ 681586 h 762005"/>
                  <a:gd name="connsiteX61" fmla="*/ 75401 w 733372"/>
                  <a:gd name="connsiteY61" fmla="*/ 695819 h 762005"/>
                  <a:gd name="connsiteX62" fmla="*/ 69050 w 733372"/>
                  <a:gd name="connsiteY62" fmla="*/ 706404 h 762005"/>
                  <a:gd name="connsiteX63" fmla="*/ 80007 w 733372"/>
                  <a:gd name="connsiteY63" fmla="*/ 714259 h 762005"/>
                  <a:gd name="connsiteX64" fmla="*/ 82004 w 733372"/>
                  <a:gd name="connsiteY64" fmla="*/ 713700 h 762005"/>
                  <a:gd name="connsiteX65" fmla="*/ 168506 w 733372"/>
                  <a:gd name="connsiteY65" fmla="*/ 700581 h 762005"/>
                  <a:gd name="connsiteX66" fmla="*/ 187570 w 733372"/>
                  <a:gd name="connsiteY66" fmla="*/ 699032 h 762005"/>
                  <a:gd name="connsiteX67" fmla="*/ 150767 w 733372"/>
                  <a:gd name="connsiteY67" fmla="*/ 743771 h 762005"/>
                  <a:gd name="connsiteX68" fmla="*/ 145932 w 733372"/>
                  <a:gd name="connsiteY68" fmla="*/ 756280 h 762005"/>
                  <a:gd name="connsiteX69" fmla="*/ 158467 w 733372"/>
                  <a:gd name="connsiteY69" fmla="*/ 761211 h 762005"/>
                  <a:gd name="connsiteX70" fmla="*/ 158926 w 733372"/>
                  <a:gd name="connsiteY70" fmla="*/ 760997 h 762005"/>
                  <a:gd name="connsiteX71" fmla="*/ 209534 w 733372"/>
                  <a:gd name="connsiteY71" fmla="*/ 696894 h 762005"/>
                  <a:gd name="connsiteX72" fmla="*/ 284384 w 733372"/>
                  <a:gd name="connsiteY72" fmla="*/ 677573 h 762005"/>
                  <a:gd name="connsiteX73" fmla="*/ 19249 w 733372"/>
                  <a:gd name="connsiteY73" fmla="*/ 337359 h 762005"/>
                  <a:gd name="connsiteX74" fmla="*/ 68738 w 733372"/>
                  <a:gd name="connsiteY74" fmla="*/ 257393 h 762005"/>
                  <a:gd name="connsiteX75" fmla="*/ 75867 w 733372"/>
                  <a:gd name="connsiteY75" fmla="*/ 253340 h 762005"/>
                  <a:gd name="connsiteX76" fmla="*/ 75899 w 733372"/>
                  <a:gd name="connsiteY76" fmla="*/ 253285 h 762005"/>
                  <a:gd name="connsiteX77" fmla="*/ 75422 w 733372"/>
                  <a:gd name="connsiteY77" fmla="*/ 244201 h 762005"/>
                  <a:gd name="connsiteX78" fmla="*/ 112962 w 733372"/>
                  <a:gd name="connsiteY78" fmla="*/ 185013 h 762005"/>
                  <a:gd name="connsiteX79" fmla="*/ 119239 w 733372"/>
                  <a:gd name="connsiteY79" fmla="*/ 207161 h 762005"/>
                  <a:gd name="connsiteX80" fmla="*/ 128119 w 733372"/>
                  <a:gd name="connsiteY80" fmla="*/ 213225 h 762005"/>
                  <a:gd name="connsiteX81" fmla="*/ 137655 w 733372"/>
                  <a:gd name="connsiteY81" fmla="*/ 203712 h 762005"/>
                  <a:gd name="connsiteX82" fmla="*/ 136818 w 733372"/>
                  <a:gd name="connsiteY82" fmla="*/ 199795 h 762005"/>
                  <a:gd name="connsiteX83" fmla="*/ 130322 w 733372"/>
                  <a:gd name="connsiteY83" fmla="*/ 171534 h 762005"/>
                  <a:gd name="connsiteX84" fmla="*/ 130587 w 733372"/>
                  <a:gd name="connsiteY84" fmla="*/ 160148 h 762005"/>
                  <a:gd name="connsiteX85" fmla="*/ 173943 w 733372"/>
                  <a:gd name="connsiteY85" fmla="*/ 90623 h 762005"/>
                  <a:gd name="connsiteX86" fmla="*/ 268003 w 733372"/>
                  <a:gd name="connsiteY86" fmla="*/ 88134 h 762005"/>
                  <a:gd name="connsiteX87" fmla="*/ 277874 w 733372"/>
                  <a:gd name="connsiteY87" fmla="*/ 93623 h 762005"/>
                  <a:gd name="connsiteX88" fmla="*/ 278004 w 733372"/>
                  <a:gd name="connsiteY88" fmla="*/ 93585 h 762005"/>
                  <a:gd name="connsiteX89" fmla="*/ 278011 w 733372"/>
                  <a:gd name="connsiteY89" fmla="*/ 93570 h 762005"/>
                  <a:gd name="connsiteX90" fmla="*/ 281645 w 733372"/>
                  <a:gd name="connsiteY90" fmla="*/ 82869 h 762005"/>
                  <a:gd name="connsiteX91" fmla="*/ 369854 w 733372"/>
                  <a:gd name="connsiteY91" fmla="*/ 19052 h 762005"/>
                  <a:gd name="connsiteX92" fmla="*/ 439699 w 733372"/>
                  <a:gd name="connsiteY92" fmla="*/ 50852 h 762005"/>
                  <a:gd name="connsiteX93" fmla="*/ 430923 w 733372"/>
                  <a:gd name="connsiteY93" fmla="*/ 55852 h 762005"/>
                  <a:gd name="connsiteX94" fmla="*/ 426155 w 733372"/>
                  <a:gd name="connsiteY94" fmla="*/ 67504 h 762005"/>
                  <a:gd name="connsiteX95" fmla="*/ 438266 w 733372"/>
                  <a:gd name="connsiteY95" fmla="*/ 73401 h 762005"/>
                  <a:gd name="connsiteX96" fmla="*/ 439878 w 733372"/>
                  <a:gd name="connsiteY96" fmla="*/ 72672 h 762005"/>
                  <a:gd name="connsiteX97" fmla="*/ 458486 w 733372"/>
                  <a:gd name="connsiteY97" fmla="*/ 62071 h 762005"/>
                  <a:gd name="connsiteX98" fmla="*/ 509254 w 733372"/>
                  <a:gd name="connsiteY98" fmla="*/ 52122 h 762005"/>
                  <a:gd name="connsiteX99" fmla="*/ 550542 w 733372"/>
                  <a:gd name="connsiteY99" fmla="*/ 66257 h 762005"/>
                  <a:gd name="connsiteX100" fmla="*/ 592362 w 733372"/>
                  <a:gd name="connsiteY100" fmla="*/ 143249 h 762005"/>
                  <a:gd name="connsiteX101" fmla="*/ 590466 w 733372"/>
                  <a:gd name="connsiteY101" fmla="*/ 166681 h 762005"/>
                  <a:gd name="connsiteX102" fmla="*/ 599182 w 733372"/>
                  <a:gd name="connsiteY102" fmla="*/ 176940 h 762005"/>
                  <a:gd name="connsiteX103" fmla="*/ 599191 w 733372"/>
                  <a:gd name="connsiteY103" fmla="*/ 176941 h 762005"/>
                  <a:gd name="connsiteX104" fmla="*/ 599967 w 733372"/>
                  <a:gd name="connsiteY104" fmla="*/ 176973 h 762005"/>
                  <a:gd name="connsiteX105" fmla="*/ 609450 w 733372"/>
                  <a:gd name="connsiteY105" fmla="*/ 168216 h 762005"/>
                  <a:gd name="connsiteX106" fmla="*/ 610152 w 733372"/>
                  <a:gd name="connsiteY106" fmla="*/ 159556 h 762005"/>
                  <a:gd name="connsiteX107" fmla="*/ 653229 w 733372"/>
                  <a:gd name="connsiteY107" fmla="*/ 231279 h 762005"/>
                  <a:gd name="connsiteX108" fmla="*/ 655570 w 733372"/>
                  <a:gd name="connsiteY108" fmla="*/ 235105 h 762005"/>
                  <a:gd name="connsiteX109" fmla="*/ 658885 w 733372"/>
                  <a:gd name="connsiteY109" fmla="*/ 237307 h 762005"/>
                  <a:gd name="connsiteX110" fmla="*/ 712956 w 733372"/>
                  <a:gd name="connsiteY110" fmla="*/ 334642 h 762005"/>
                  <a:gd name="connsiteX111" fmla="*/ 668464 w 733372"/>
                  <a:gd name="connsiteY111" fmla="*/ 396173 h 762005"/>
                  <a:gd name="connsiteX112" fmla="*/ 569611 w 733372"/>
                  <a:gd name="connsiteY112" fmla="*/ 385807 h 762005"/>
                  <a:gd name="connsiteX113" fmla="*/ 564546 w 733372"/>
                  <a:gd name="connsiteY113" fmla="*/ 383543 h 762005"/>
                  <a:gd name="connsiteX114" fmla="*/ 559088 w 733372"/>
                  <a:gd name="connsiteY114" fmla="*/ 384595 h 762005"/>
                  <a:gd name="connsiteX115" fmla="*/ 522512 w 733372"/>
                  <a:gd name="connsiteY115" fmla="*/ 392756 h 762005"/>
                  <a:gd name="connsiteX116" fmla="*/ 469576 w 733372"/>
                  <a:gd name="connsiteY116" fmla="*/ 371947 h 762005"/>
                  <a:gd name="connsiteX117" fmla="*/ 457886 w 733372"/>
                  <a:gd name="connsiteY117" fmla="*/ 369640 h 762005"/>
                  <a:gd name="connsiteX118" fmla="*/ 453653 w 733372"/>
                  <a:gd name="connsiteY118" fmla="*/ 371799 h 762005"/>
                  <a:gd name="connsiteX119" fmla="*/ 288172 w 733372"/>
                  <a:gd name="connsiteY119" fmla="*/ 391087 h 762005"/>
                  <a:gd name="connsiteX120" fmla="*/ 257712 w 733372"/>
                  <a:gd name="connsiteY120" fmla="*/ 381206 h 762005"/>
                  <a:gd name="connsiteX121" fmla="*/ 245911 w 733372"/>
                  <a:gd name="connsiteY121" fmla="*/ 385568 h 762005"/>
                  <a:gd name="connsiteX122" fmla="*/ 249762 w 733372"/>
                  <a:gd name="connsiteY122" fmla="*/ 398488 h 762005"/>
                  <a:gd name="connsiteX123" fmla="*/ 251351 w 733372"/>
                  <a:gd name="connsiteY123" fmla="*/ 399169 h 762005"/>
                  <a:gd name="connsiteX124" fmla="*/ 261126 w 733372"/>
                  <a:gd name="connsiteY124" fmla="*/ 402340 h 762005"/>
                  <a:gd name="connsiteX125" fmla="*/ 231408 w 733372"/>
                  <a:gd name="connsiteY125" fmla="*/ 428914 h 762005"/>
                  <a:gd name="connsiteX126" fmla="*/ 230283 w 733372"/>
                  <a:gd name="connsiteY126" fmla="*/ 429494 h 762005"/>
                  <a:gd name="connsiteX127" fmla="*/ 153321 w 733372"/>
                  <a:gd name="connsiteY127" fmla="*/ 427555 h 762005"/>
                  <a:gd name="connsiteX128" fmla="*/ 143296 w 733372"/>
                  <a:gd name="connsiteY128" fmla="*/ 427698 h 762005"/>
                  <a:gd name="connsiteX129" fmla="*/ 139478 w 733372"/>
                  <a:gd name="connsiteY129" fmla="*/ 438637 h 762005"/>
                  <a:gd name="connsiteX130" fmla="*/ 21643 w 733372"/>
                  <a:gd name="connsiteY130" fmla="*/ 365342 h 762005"/>
                  <a:gd name="connsiteX131" fmla="*/ 19249 w 733372"/>
                  <a:gd name="connsiteY131" fmla="*/ 337359 h 762005"/>
                  <a:gd name="connsiteX132" fmla="*/ 316216 w 733372"/>
                  <a:gd name="connsiteY132" fmla="*/ 481926 h 762005"/>
                  <a:gd name="connsiteX133" fmla="*/ 253789 w 733372"/>
                  <a:gd name="connsiteY133" fmla="*/ 436662 h 762005"/>
                  <a:gd name="connsiteX134" fmla="*/ 279818 w 733372"/>
                  <a:gd name="connsiteY134" fmla="*/ 408529 h 762005"/>
                  <a:gd name="connsiteX135" fmla="*/ 286713 w 733372"/>
                  <a:gd name="connsiteY135" fmla="*/ 410327 h 762005"/>
                  <a:gd name="connsiteX136" fmla="*/ 294536 w 733372"/>
                  <a:gd name="connsiteY136" fmla="*/ 411903 h 762005"/>
                  <a:gd name="connsiteX137" fmla="*/ 316216 w 733372"/>
                  <a:gd name="connsiteY137" fmla="*/ 481926 h 762005"/>
                  <a:gd name="connsiteX138" fmla="*/ 369271 w 733372"/>
                  <a:gd name="connsiteY138" fmla="*/ 441063 h 762005"/>
                  <a:gd name="connsiteX139" fmla="*/ 362159 w 733372"/>
                  <a:gd name="connsiteY139" fmla="*/ 417381 h 762005"/>
                  <a:gd name="connsiteX140" fmla="*/ 380570 w 733372"/>
                  <a:gd name="connsiteY140" fmla="*/ 415666 h 762005"/>
                  <a:gd name="connsiteX141" fmla="*/ 369277 w 733372"/>
                  <a:gd name="connsiteY141" fmla="*/ 441068 h 762005"/>
                  <a:gd name="connsiteX142" fmla="*/ 464967 w 733372"/>
                  <a:gd name="connsiteY142" fmla="*/ 454504 h 762005"/>
                  <a:gd name="connsiteX143" fmla="*/ 419277 w 733372"/>
                  <a:gd name="connsiteY143" fmla="*/ 478284 h 762005"/>
                  <a:gd name="connsiteX144" fmla="*/ 463228 w 733372"/>
                  <a:gd name="connsiteY144" fmla="*/ 392241 h 762005"/>
                  <a:gd name="connsiteX145" fmla="*/ 522513 w 733372"/>
                  <a:gd name="connsiteY145" fmla="*/ 411802 h 762005"/>
                  <a:gd name="connsiteX146" fmla="*/ 534771 w 733372"/>
                  <a:gd name="connsiteY146" fmla="*/ 411105 h 762005"/>
                  <a:gd name="connsiteX147" fmla="*/ 534849 w 733372"/>
                  <a:gd name="connsiteY147" fmla="*/ 411234 h 762005"/>
                  <a:gd name="connsiteX148" fmla="*/ 464974 w 733372"/>
                  <a:gd name="connsiteY148" fmla="*/ 454509 h 76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</a:cxnLst>
                <a:rect l="l" t="t" r="r" b="b"/>
                <a:pathLst>
                  <a:path w="733372" h="762005">
                    <a:moveTo>
                      <a:pt x="287422" y="675746"/>
                    </a:moveTo>
                    <a:cubicBezTo>
                      <a:pt x="310923" y="654762"/>
                      <a:pt x="347660" y="594393"/>
                      <a:pt x="327633" y="558600"/>
                    </a:cubicBezTo>
                    <a:cubicBezTo>
                      <a:pt x="306549" y="520915"/>
                      <a:pt x="258044" y="483144"/>
                      <a:pt x="210166" y="455921"/>
                    </a:cubicBezTo>
                    <a:cubicBezTo>
                      <a:pt x="218938" y="454359"/>
                      <a:pt x="227458" y="451622"/>
                      <a:pt x="235497" y="447781"/>
                    </a:cubicBezTo>
                    <a:lnTo>
                      <a:pt x="237899" y="449188"/>
                    </a:lnTo>
                    <a:cubicBezTo>
                      <a:pt x="268007" y="466327"/>
                      <a:pt x="295633" y="487495"/>
                      <a:pt x="320015" y="512106"/>
                    </a:cubicBezTo>
                    <a:lnTo>
                      <a:pt x="336479" y="529602"/>
                    </a:lnTo>
                    <a:lnTo>
                      <a:pt x="336479" y="505580"/>
                    </a:lnTo>
                    <a:cubicBezTo>
                      <a:pt x="336827" y="474631"/>
                      <a:pt x="330517" y="443970"/>
                      <a:pt x="317977" y="415673"/>
                    </a:cubicBezTo>
                    <a:cubicBezTo>
                      <a:pt x="326263" y="416694"/>
                      <a:pt x="334242" y="417298"/>
                      <a:pt x="341963" y="417541"/>
                    </a:cubicBezTo>
                    <a:cubicBezTo>
                      <a:pt x="349391" y="437317"/>
                      <a:pt x="354348" y="457935"/>
                      <a:pt x="356719" y="478927"/>
                    </a:cubicBezTo>
                    <a:lnTo>
                      <a:pt x="362022" y="523036"/>
                    </a:lnTo>
                    <a:lnTo>
                      <a:pt x="375271" y="480633"/>
                    </a:lnTo>
                    <a:cubicBezTo>
                      <a:pt x="382876" y="456613"/>
                      <a:pt x="392537" y="433292"/>
                      <a:pt x="404147" y="410931"/>
                    </a:cubicBezTo>
                    <a:cubicBezTo>
                      <a:pt x="414373" y="408317"/>
                      <a:pt x="424421" y="405052"/>
                      <a:pt x="434231" y="401158"/>
                    </a:cubicBezTo>
                    <a:cubicBezTo>
                      <a:pt x="434274" y="401139"/>
                      <a:pt x="434325" y="401158"/>
                      <a:pt x="434344" y="401200"/>
                    </a:cubicBezTo>
                    <a:cubicBezTo>
                      <a:pt x="434356" y="401227"/>
                      <a:pt x="434354" y="401258"/>
                      <a:pt x="434339" y="401281"/>
                    </a:cubicBezTo>
                    <a:cubicBezTo>
                      <a:pt x="416577" y="431985"/>
                      <a:pt x="402443" y="464649"/>
                      <a:pt x="392226" y="498617"/>
                    </a:cubicBezTo>
                    <a:lnTo>
                      <a:pt x="383245" y="526951"/>
                    </a:lnTo>
                    <a:lnTo>
                      <a:pt x="407019" y="509113"/>
                    </a:lnTo>
                    <a:cubicBezTo>
                      <a:pt x="427934" y="494589"/>
                      <a:pt x="450148" y="482032"/>
                      <a:pt x="473378" y="471604"/>
                    </a:cubicBezTo>
                    <a:cubicBezTo>
                      <a:pt x="519675" y="448451"/>
                      <a:pt x="551007" y="430968"/>
                      <a:pt x="561976" y="404022"/>
                    </a:cubicBezTo>
                    <a:lnTo>
                      <a:pt x="562018" y="404010"/>
                    </a:lnTo>
                    <a:cubicBezTo>
                      <a:pt x="568772" y="409134"/>
                      <a:pt x="576113" y="413432"/>
                      <a:pt x="583886" y="416816"/>
                    </a:cubicBezTo>
                    <a:cubicBezTo>
                      <a:pt x="566394" y="451760"/>
                      <a:pt x="521960" y="473561"/>
                      <a:pt x="485763" y="491301"/>
                    </a:cubicBezTo>
                    <a:cubicBezTo>
                      <a:pt x="444027" y="511769"/>
                      <a:pt x="400866" y="532931"/>
                      <a:pt x="393174" y="567556"/>
                    </a:cubicBezTo>
                    <a:cubicBezTo>
                      <a:pt x="380574" y="634517"/>
                      <a:pt x="433287" y="678262"/>
                      <a:pt x="440850" y="681740"/>
                    </a:cubicBezTo>
                    <a:cubicBezTo>
                      <a:pt x="461610" y="689999"/>
                      <a:pt x="483382" y="695443"/>
                      <a:pt x="505587" y="697924"/>
                    </a:cubicBezTo>
                    <a:cubicBezTo>
                      <a:pt x="512489" y="705776"/>
                      <a:pt x="518917" y="714031"/>
                      <a:pt x="524840" y="722645"/>
                    </a:cubicBezTo>
                    <a:cubicBezTo>
                      <a:pt x="533641" y="737333"/>
                      <a:pt x="545230" y="750157"/>
                      <a:pt x="558954" y="760396"/>
                    </a:cubicBezTo>
                    <a:cubicBezTo>
                      <a:pt x="563331" y="763314"/>
                      <a:pt x="569245" y="762132"/>
                      <a:pt x="572164" y="757756"/>
                    </a:cubicBezTo>
                    <a:cubicBezTo>
                      <a:pt x="572352" y="757474"/>
                      <a:pt x="572525" y="757182"/>
                      <a:pt x="572682" y="756881"/>
                    </a:cubicBezTo>
                    <a:cubicBezTo>
                      <a:pt x="574860" y="752432"/>
                      <a:pt x="573379" y="747056"/>
                      <a:pt x="569230" y="744350"/>
                    </a:cubicBezTo>
                    <a:cubicBezTo>
                      <a:pt x="557724" y="735429"/>
                      <a:pt x="548001" y="724421"/>
                      <a:pt x="540569" y="711901"/>
                    </a:cubicBezTo>
                    <a:cubicBezTo>
                      <a:pt x="538222" y="708466"/>
                      <a:pt x="535919" y="705185"/>
                      <a:pt x="533582" y="701981"/>
                    </a:cubicBezTo>
                    <a:cubicBezTo>
                      <a:pt x="572650" y="706808"/>
                      <a:pt x="611388" y="714021"/>
                      <a:pt x="649576" y="723580"/>
                    </a:cubicBezTo>
                    <a:cubicBezTo>
                      <a:pt x="650373" y="723791"/>
                      <a:pt x="651194" y="723900"/>
                      <a:pt x="652018" y="723902"/>
                    </a:cubicBezTo>
                    <a:cubicBezTo>
                      <a:pt x="656532" y="723900"/>
                      <a:pt x="660425" y="720731"/>
                      <a:pt x="661341" y="716311"/>
                    </a:cubicBezTo>
                    <a:cubicBezTo>
                      <a:pt x="662215" y="711189"/>
                      <a:pt x="658979" y="706263"/>
                      <a:pt x="653931" y="705031"/>
                    </a:cubicBezTo>
                    <a:cubicBezTo>
                      <a:pt x="615013" y="695309"/>
                      <a:pt x="575537" y="687968"/>
                      <a:pt x="535726" y="683048"/>
                    </a:cubicBezTo>
                    <a:cubicBezTo>
                      <a:pt x="499779" y="677984"/>
                      <a:pt x="468730" y="673612"/>
                      <a:pt x="448973" y="664519"/>
                    </a:cubicBezTo>
                    <a:cubicBezTo>
                      <a:pt x="442801" y="661138"/>
                      <a:pt x="401901" y="624210"/>
                      <a:pt x="411836" y="571390"/>
                    </a:cubicBezTo>
                    <a:cubicBezTo>
                      <a:pt x="417478" y="546010"/>
                      <a:pt x="456456" y="526895"/>
                      <a:pt x="494152" y="508413"/>
                    </a:cubicBezTo>
                    <a:cubicBezTo>
                      <a:pt x="533791" y="488982"/>
                      <a:pt x="582558" y="465020"/>
                      <a:pt x="602094" y="422859"/>
                    </a:cubicBezTo>
                    <a:cubicBezTo>
                      <a:pt x="659486" y="436390"/>
                      <a:pt x="716981" y="400833"/>
                      <a:pt x="730511" y="343441"/>
                    </a:cubicBezTo>
                    <a:cubicBezTo>
                      <a:pt x="742275" y="293540"/>
                      <a:pt x="716910" y="242322"/>
                      <a:pt x="670088" y="221436"/>
                    </a:cubicBezTo>
                    <a:cubicBezTo>
                      <a:pt x="659896" y="188714"/>
                      <a:pt x="645249" y="156576"/>
                      <a:pt x="611345" y="137733"/>
                    </a:cubicBezTo>
                    <a:cubicBezTo>
                      <a:pt x="609777" y="101909"/>
                      <a:pt x="590773" y="69120"/>
                      <a:pt x="560466" y="49953"/>
                    </a:cubicBezTo>
                    <a:cubicBezTo>
                      <a:pt x="546233" y="40738"/>
                      <a:pt x="530008" y="35047"/>
                      <a:pt x="513137" y="33352"/>
                    </a:cubicBezTo>
                    <a:cubicBezTo>
                      <a:pt x="493998" y="31171"/>
                      <a:pt x="474620" y="34042"/>
                      <a:pt x="456935" y="41678"/>
                    </a:cubicBezTo>
                    <a:cubicBezTo>
                      <a:pt x="435828" y="15175"/>
                      <a:pt x="403734" y="-185"/>
                      <a:pt x="369854" y="2"/>
                    </a:cubicBezTo>
                    <a:cubicBezTo>
                      <a:pt x="325602" y="143"/>
                      <a:pt x="285556" y="26247"/>
                      <a:pt x="267567" y="66677"/>
                    </a:cubicBezTo>
                    <a:cubicBezTo>
                      <a:pt x="233871" y="51759"/>
                      <a:pt x="194947" y="54683"/>
                      <a:pt x="163857" y="74467"/>
                    </a:cubicBezTo>
                    <a:cubicBezTo>
                      <a:pt x="134343" y="92810"/>
                      <a:pt x="115036" y="123834"/>
                      <a:pt x="111614" y="158416"/>
                    </a:cubicBezTo>
                    <a:cubicBezTo>
                      <a:pt x="111423" y="160560"/>
                      <a:pt x="111297" y="162745"/>
                      <a:pt x="111242" y="165052"/>
                    </a:cubicBezTo>
                    <a:cubicBezTo>
                      <a:pt x="78907" y="177271"/>
                      <a:pt x="57213" y="207880"/>
                      <a:pt x="56394" y="242438"/>
                    </a:cubicBezTo>
                    <a:cubicBezTo>
                      <a:pt x="982" y="276177"/>
                      <a:pt x="-16587" y="348449"/>
                      <a:pt x="17152" y="403861"/>
                    </a:cubicBezTo>
                    <a:cubicBezTo>
                      <a:pt x="46864" y="452658"/>
                      <a:pt x="107375" y="473003"/>
                      <a:pt x="160532" y="452067"/>
                    </a:cubicBezTo>
                    <a:cubicBezTo>
                      <a:pt x="217777" y="477489"/>
                      <a:pt x="286868" y="524751"/>
                      <a:pt x="311011" y="567902"/>
                    </a:cubicBezTo>
                    <a:cubicBezTo>
                      <a:pt x="324640" y="592258"/>
                      <a:pt x="295819" y="642047"/>
                      <a:pt x="275528" y="660771"/>
                    </a:cubicBezTo>
                    <a:cubicBezTo>
                      <a:pt x="253307" y="674808"/>
                      <a:pt x="209455" y="678265"/>
                      <a:pt x="167015" y="681586"/>
                    </a:cubicBezTo>
                    <a:cubicBezTo>
                      <a:pt x="131439" y="684376"/>
                      <a:pt x="97820" y="687009"/>
                      <a:pt x="75401" y="695819"/>
                    </a:cubicBezTo>
                    <a:cubicBezTo>
                      <a:pt x="71054" y="697410"/>
                      <a:pt x="68408" y="701820"/>
                      <a:pt x="69050" y="706404"/>
                    </a:cubicBezTo>
                    <a:cubicBezTo>
                      <a:pt x="69907" y="711599"/>
                      <a:pt x="74813" y="715115"/>
                      <a:pt x="80007" y="714259"/>
                    </a:cubicBezTo>
                    <a:cubicBezTo>
                      <a:pt x="80691" y="714145"/>
                      <a:pt x="81360" y="713959"/>
                      <a:pt x="82004" y="713700"/>
                    </a:cubicBezTo>
                    <a:cubicBezTo>
                      <a:pt x="101721" y="705808"/>
                      <a:pt x="134164" y="703269"/>
                      <a:pt x="168506" y="700581"/>
                    </a:cubicBezTo>
                    <a:cubicBezTo>
                      <a:pt x="174855" y="700083"/>
                      <a:pt x="181221" y="699571"/>
                      <a:pt x="187570" y="699032"/>
                    </a:cubicBezTo>
                    <a:cubicBezTo>
                      <a:pt x="179113" y="716709"/>
                      <a:pt x="166481" y="732064"/>
                      <a:pt x="150767" y="743771"/>
                    </a:cubicBezTo>
                    <a:cubicBezTo>
                      <a:pt x="146146" y="746047"/>
                      <a:pt x="144042" y="751487"/>
                      <a:pt x="145932" y="756280"/>
                    </a:cubicBezTo>
                    <a:cubicBezTo>
                      <a:pt x="148032" y="761104"/>
                      <a:pt x="153645" y="763311"/>
                      <a:pt x="158467" y="761211"/>
                    </a:cubicBezTo>
                    <a:cubicBezTo>
                      <a:pt x="158622" y="761143"/>
                      <a:pt x="158776" y="761072"/>
                      <a:pt x="158926" y="760997"/>
                    </a:cubicBezTo>
                    <a:cubicBezTo>
                      <a:pt x="175959" y="752482"/>
                      <a:pt x="199447" y="722390"/>
                      <a:pt x="209534" y="696894"/>
                    </a:cubicBezTo>
                    <a:cubicBezTo>
                      <a:pt x="239077" y="693649"/>
                      <a:pt x="266217" y="688512"/>
                      <a:pt x="284384" y="677573"/>
                    </a:cubicBezTo>
                    <a:close/>
                    <a:moveTo>
                      <a:pt x="19249" y="337359"/>
                    </a:moveTo>
                    <a:cubicBezTo>
                      <a:pt x="21602" y="304191"/>
                      <a:pt x="40104" y="274297"/>
                      <a:pt x="68738" y="257393"/>
                    </a:cubicBezTo>
                    <a:cubicBezTo>
                      <a:pt x="70205" y="256499"/>
                      <a:pt x="75405" y="253599"/>
                      <a:pt x="75867" y="253340"/>
                    </a:cubicBezTo>
                    <a:lnTo>
                      <a:pt x="75899" y="253285"/>
                    </a:lnTo>
                    <a:cubicBezTo>
                      <a:pt x="75864" y="252672"/>
                      <a:pt x="75422" y="244768"/>
                      <a:pt x="75422" y="244201"/>
                    </a:cubicBezTo>
                    <a:cubicBezTo>
                      <a:pt x="75498" y="218890"/>
                      <a:pt x="90098" y="195870"/>
                      <a:pt x="112962" y="185013"/>
                    </a:cubicBezTo>
                    <a:cubicBezTo>
                      <a:pt x="114362" y="192575"/>
                      <a:pt x="116463" y="199990"/>
                      <a:pt x="119239" y="207161"/>
                    </a:cubicBezTo>
                    <a:cubicBezTo>
                      <a:pt x="120668" y="210818"/>
                      <a:pt x="124192" y="213225"/>
                      <a:pt x="128119" y="213225"/>
                    </a:cubicBezTo>
                    <a:cubicBezTo>
                      <a:pt x="133379" y="213232"/>
                      <a:pt x="137648" y="208973"/>
                      <a:pt x="137655" y="203712"/>
                    </a:cubicBezTo>
                    <a:cubicBezTo>
                      <a:pt x="137657" y="202362"/>
                      <a:pt x="137371" y="201027"/>
                      <a:pt x="136818" y="199795"/>
                    </a:cubicBezTo>
                    <a:cubicBezTo>
                      <a:pt x="133339" y="190726"/>
                      <a:pt x="131152" y="181212"/>
                      <a:pt x="130322" y="171534"/>
                    </a:cubicBezTo>
                    <a:cubicBezTo>
                      <a:pt x="130182" y="167737"/>
                      <a:pt x="130271" y="163935"/>
                      <a:pt x="130587" y="160148"/>
                    </a:cubicBezTo>
                    <a:cubicBezTo>
                      <a:pt x="133453" y="131495"/>
                      <a:pt x="149474" y="105803"/>
                      <a:pt x="173943" y="90623"/>
                    </a:cubicBezTo>
                    <a:cubicBezTo>
                      <a:pt x="202437" y="72506"/>
                      <a:pt x="238590" y="71550"/>
                      <a:pt x="268003" y="88134"/>
                    </a:cubicBezTo>
                    <a:lnTo>
                      <a:pt x="277874" y="93623"/>
                    </a:lnTo>
                    <a:cubicBezTo>
                      <a:pt x="277920" y="93649"/>
                      <a:pt x="277978" y="93631"/>
                      <a:pt x="278004" y="93585"/>
                    </a:cubicBezTo>
                    <a:cubicBezTo>
                      <a:pt x="278007" y="93580"/>
                      <a:pt x="278009" y="93575"/>
                      <a:pt x="278011" y="93570"/>
                    </a:cubicBezTo>
                    <a:lnTo>
                      <a:pt x="281645" y="82869"/>
                    </a:lnTo>
                    <a:cubicBezTo>
                      <a:pt x="294347" y="44901"/>
                      <a:pt x="329818" y="19238"/>
                      <a:pt x="369854" y="19052"/>
                    </a:cubicBezTo>
                    <a:cubicBezTo>
                      <a:pt x="396666" y="18923"/>
                      <a:pt x="422191" y="30544"/>
                      <a:pt x="439699" y="50852"/>
                    </a:cubicBezTo>
                    <a:lnTo>
                      <a:pt x="430923" y="55852"/>
                    </a:lnTo>
                    <a:cubicBezTo>
                      <a:pt x="426752" y="58096"/>
                      <a:pt x="424754" y="62980"/>
                      <a:pt x="426155" y="67504"/>
                    </a:cubicBezTo>
                    <a:cubicBezTo>
                      <a:pt x="427870" y="72477"/>
                      <a:pt x="433293" y="75118"/>
                      <a:pt x="438266" y="73401"/>
                    </a:cubicBezTo>
                    <a:cubicBezTo>
                      <a:pt x="438824" y="73209"/>
                      <a:pt x="439364" y="72964"/>
                      <a:pt x="439878" y="72672"/>
                    </a:cubicBezTo>
                    <a:lnTo>
                      <a:pt x="458486" y="62071"/>
                    </a:lnTo>
                    <a:cubicBezTo>
                      <a:pt x="474073" y="53867"/>
                      <a:pt x="491722" y="50408"/>
                      <a:pt x="509254" y="52122"/>
                    </a:cubicBezTo>
                    <a:cubicBezTo>
                      <a:pt x="523975" y="53339"/>
                      <a:pt x="538163" y="58196"/>
                      <a:pt x="550542" y="66257"/>
                    </a:cubicBezTo>
                    <a:cubicBezTo>
                      <a:pt x="576846" y="82974"/>
                      <a:pt x="592658" y="112084"/>
                      <a:pt x="592362" y="143249"/>
                    </a:cubicBezTo>
                    <a:lnTo>
                      <a:pt x="590466" y="166681"/>
                    </a:lnTo>
                    <a:cubicBezTo>
                      <a:pt x="590040" y="171920"/>
                      <a:pt x="593942" y="176514"/>
                      <a:pt x="599182" y="176940"/>
                    </a:cubicBezTo>
                    <a:cubicBezTo>
                      <a:pt x="599185" y="176941"/>
                      <a:pt x="599188" y="176941"/>
                      <a:pt x="599191" y="176941"/>
                    </a:cubicBezTo>
                    <a:cubicBezTo>
                      <a:pt x="599451" y="176964"/>
                      <a:pt x="599712" y="176973"/>
                      <a:pt x="599967" y="176973"/>
                    </a:cubicBezTo>
                    <a:cubicBezTo>
                      <a:pt x="604926" y="176968"/>
                      <a:pt x="609050" y="173159"/>
                      <a:pt x="609450" y="168216"/>
                    </a:cubicBezTo>
                    <a:lnTo>
                      <a:pt x="610152" y="159556"/>
                    </a:lnTo>
                    <a:cubicBezTo>
                      <a:pt x="635193" y="177480"/>
                      <a:pt x="645600" y="205617"/>
                      <a:pt x="653229" y="231279"/>
                    </a:cubicBezTo>
                    <a:cubicBezTo>
                      <a:pt x="653715" y="232713"/>
                      <a:pt x="654515" y="234020"/>
                      <a:pt x="655570" y="235105"/>
                    </a:cubicBezTo>
                    <a:cubicBezTo>
                      <a:pt x="656523" y="236045"/>
                      <a:pt x="657649" y="236793"/>
                      <a:pt x="658885" y="237307"/>
                    </a:cubicBezTo>
                    <a:cubicBezTo>
                      <a:pt x="697861" y="252651"/>
                      <a:pt x="720521" y="293442"/>
                      <a:pt x="712956" y="334642"/>
                    </a:cubicBezTo>
                    <a:cubicBezTo>
                      <a:pt x="708394" y="360910"/>
                      <a:pt x="691980" y="383610"/>
                      <a:pt x="668464" y="396173"/>
                    </a:cubicBezTo>
                    <a:cubicBezTo>
                      <a:pt x="636523" y="413407"/>
                      <a:pt x="597282" y="409292"/>
                      <a:pt x="569611" y="385807"/>
                    </a:cubicBezTo>
                    <a:cubicBezTo>
                      <a:pt x="568285" y="384418"/>
                      <a:pt x="566466" y="383605"/>
                      <a:pt x="564546" y="383543"/>
                    </a:cubicBezTo>
                    <a:cubicBezTo>
                      <a:pt x="562661" y="383301"/>
                      <a:pt x="560748" y="383670"/>
                      <a:pt x="559088" y="384595"/>
                    </a:cubicBezTo>
                    <a:cubicBezTo>
                      <a:pt x="547692" y="390112"/>
                      <a:pt x="535171" y="392906"/>
                      <a:pt x="522512" y="392756"/>
                    </a:cubicBezTo>
                    <a:cubicBezTo>
                      <a:pt x="502691" y="393778"/>
                      <a:pt x="483394" y="386193"/>
                      <a:pt x="469576" y="371947"/>
                    </a:cubicBezTo>
                    <a:cubicBezTo>
                      <a:pt x="466727" y="368492"/>
                      <a:pt x="461835" y="367526"/>
                      <a:pt x="457886" y="369640"/>
                    </a:cubicBezTo>
                    <a:cubicBezTo>
                      <a:pt x="457886" y="369640"/>
                      <a:pt x="455057" y="371092"/>
                      <a:pt x="453653" y="371799"/>
                    </a:cubicBezTo>
                    <a:cubicBezTo>
                      <a:pt x="404999" y="396286"/>
                      <a:pt x="358879" y="407644"/>
                      <a:pt x="288172" y="391087"/>
                    </a:cubicBezTo>
                    <a:lnTo>
                      <a:pt x="257712" y="381206"/>
                    </a:lnTo>
                    <a:cubicBezTo>
                      <a:pt x="253241" y="379640"/>
                      <a:pt x="248288" y="381470"/>
                      <a:pt x="245911" y="385568"/>
                    </a:cubicBezTo>
                    <a:cubicBezTo>
                      <a:pt x="243407" y="390199"/>
                      <a:pt x="245131" y="395984"/>
                      <a:pt x="249762" y="398488"/>
                    </a:cubicBezTo>
                    <a:cubicBezTo>
                      <a:pt x="250270" y="398762"/>
                      <a:pt x="250801" y="398991"/>
                      <a:pt x="251351" y="399169"/>
                    </a:cubicBezTo>
                    <a:lnTo>
                      <a:pt x="261126" y="402340"/>
                    </a:lnTo>
                    <a:cubicBezTo>
                      <a:pt x="253282" y="413265"/>
                      <a:pt x="243138" y="422335"/>
                      <a:pt x="231408" y="428914"/>
                    </a:cubicBezTo>
                    <a:cubicBezTo>
                      <a:pt x="231020" y="429081"/>
                      <a:pt x="230644" y="429275"/>
                      <a:pt x="230283" y="429494"/>
                    </a:cubicBezTo>
                    <a:cubicBezTo>
                      <a:pt x="206066" y="442401"/>
                      <a:pt x="176856" y="441665"/>
                      <a:pt x="153321" y="427555"/>
                    </a:cubicBezTo>
                    <a:cubicBezTo>
                      <a:pt x="150236" y="425650"/>
                      <a:pt x="146326" y="425706"/>
                      <a:pt x="143296" y="427698"/>
                    </a:cubicBezTo>
                    <a:cubicBezTo>
                      <a:pt x="139685" y="430053"/>
                      <a:pt x="138117" y="434546"/>
                      <a:pt x="139478" y="438637"/>
                    </a:cubicBezTo>
                    <a:cubicBezTo>
                      <a:pt x="86699" y="450936"/>
                      <a:pt x="33942" y="418121"/>
                      <a:pt x="21643" y="365342"/>
                    </a:cubicBezTo>
                    <a:cubicBezTo>
                      <a:pt x="19507" y="356177"/>
                      <a:pt x="18701" y="346754"/>
                      <a:pt x="19249" y="337359"/>
                    </a:cubicBezTo>
                    <a:close/>
                    <a:moveTo>
                      <a:pt x="316216" y="481926"/>
                    </a:moveTo>
                    <a:cubicBezTo>
                      <a:pt x="296757" y="465059"/>
                      <a:pt x="275869" y="449914"/>
                      <a:pt x="253789" y="436662"/>
                    </a:cubicBezTo>
                    <a:cubicBezTo>
                      <a:pt x="263981" y="428810"/>
                      <a:pt x="272780" y="419300"/>
                      <a:pt x="279818" y="408529"/>
                    </a:cubicBezTo>
                    <a:cubicBezTo>
                      <a:pt x="280094" y="408596"/>
                      <a:pt x="283276" y="409530"/>
                      <a:pt x="286713" y="410327"/>
                    </a:cubicBezTo>
                    <a:cubicBezTo>
                      <a:pt x="289778" y="411038"/>
                      <a:pt x="293053" y="411605"/>
                      <a:pt x="294536" y="411903"/>
                    </a:cubicBezTo>
                    <a:cubicBezTo>
                      <a:pt x="306621" y="433453"/>
                      <a:pt x="314009" y="457317"/>
                      <a:pt x="316216" y="481926"/>
                    </a:cubicBezTo>
                    <a:close/>
                    <a:moveTo>
                      <a:pt x="369271" y="441063"/>
                    </a:moveTo>
                    <a:cubicBezTo>
                      <a:pt x="367270" y="432803"/>
                      <a:pt x="364815" y="424986"/>
                      <a:pt x="362159" y="417381"/>
                    </a:cubicBezTo>
                    <a:cubicBezTo>
                      <a:pt x="368436" y="417036"/>
                      <a:pt x="374595" y="416504"/>
                      <a:pt x="380570" y="415666"/>
                    </a:cubicBezTo>
                    <a:cubicBezTo>
                      <a:pt x="376612" y="423980"/>
                      <a:pt x="372775" y="432445"/>
                      <a:pt x="369277" y="441068"/>
                    </a:cubicBezTo>
                    <a:close/>
                    <a:moveTo>
                      <a:pt x="464967" y="454504"/>
                    </a:moveTo>
                    <a:cubicBezTo>
                      <a:pt x="449675" y="461890"/>
                      <a:pt x="433927" y="469676"/>
                      <a:pt x="419277" y="478284"/>
                    </a:cubicBezTo>
                    <a:cubicBezTo>
                      <a:pt x="429813" y="447681"/>
                      <a:pt x="444610" y="418716"/>
                      <a:pt x="463228" y="392241"/>
                    </a:cubicBezTo>
                    <a:cubicBezTo>
                      <a:pt x="480184" y="405325"/>
                      <a:pt x="501099" y="412227"/>
                      <a:pt x="522513" y="411802"/>
                    </a:cubicBezTo>
                    <a:cubicBezTo>
                      <a:pt x="526608" y="411805"/>
                      <a:pt x="530702" y="411571"/>
                      <a:pt x="534771" y="411105"/>
                    </a:cubicBezTo>
                    <a:cubicBezTo>
                      <a:pt x="534844" y="411097"/>
                      <a:pt x="534899" y="411182"/>
                      <a:pt x="534849" y="411234"/>
                    </a:cubicBezTo>
                    <a:cubicBezTo>
                      <a:pt x="521290" y="425589"/>
                      <a:pt x="497068" y="438460"/>
                      <a:pt x="464974" y="4545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502397DB-03AD-B136-B839-220F626AD383}"/>
                  </a:ext>
                </a:extLst>
              </p:cNvPr>
              <p:cNvSpPr/>
              <p:nvPr/>
            </p:nvSpPr>
            <p:spPr>
              <a:xfrm>
                <a:off x="2955115" y="2239100"/>
                <a:ext cx="226625" cy="190593"/>
              </a:xfrm>
              <a:custGeom>
                <a:avLst/>
                <a:gdLst>
                  <a:gd name="connsiteX0" fmla="*/ 217930 w 226625"/>
                  <a:gd name="connsiteY0" fmla="*/ 169462 h 190593"/>
                  <a:gd name="connsiteX1" fmla="*/ 150443 w 226625"/>
                  <a:gd name="connsiteY1" fmla="*/ 84237 h 190593"/>
                  <a:gd name="connsiteX2" fmla="*/ 189024 w 226625"/>
                  <a:gd name="connsiteY2" fmla="*/ 103592 h 190593"/>
                  <a:gd name="connsiteX3" fmla="*/ 202496 w 226625"/>
                  <a:gd name="connsiteY3" fmla="*/ 103519 h 190593"/>
                  <a:gd name="connsiteX4" fmla="*/ 202424 w 226625"/>
                  <a:gd name="connsiteY4" fmla="*/ 90048 h 190593"/>
                  <a:gd name="connsiteX5" fmla="*/ 149878 w 226625"/>
                  <a:gd name="connsiteY5" fmla="*/ 65093 h 190593"/>
                  <a:gd name="connsiteX6" fmla="*/ 146475 w 226625"/>
                  <a:gd name="connsiteY6" fmla="*/ 65093 h 190593"/>
                  <a:gd name="connsiteX7" fmla="*/ 144915 w 226625"/>
                  <a:gd name="connsiteY7" fmla="*/ 37773 h 190593"/>
                  <a:gd name="connsiteX8" fmla="*/ 157873 w 226625"/>
                  <a:gd name="connsiteY8" fmla="*/ 13935 h 190593"/>
                  <a:gd name="connsiteX9" fmla="*/ 154886 w 226625"/>
                  <a:gd name="connsiteY9" fmla="*/ 1720 h 190593"/>
                  <a:gd name="connsiteX10" fmla="*/ 141608 w 226625"/>
                  <a:gd name="connsiteY10" fmla="*/ 4076 h 190593"/>
                  <a:gd name="connsiteX11" fmla="*/ 140776 w 226625"/>
                  <a:gd name="connsiteY11" fmla="*/ 5519 h 190593"/>
                  <a:gd name="connsiteX12" fmla="*/ 75826 w 226625"/>
                  <a:gd name="connsiteY12" fmla="*/ 72278 h 190593"/>
                  <a:gd name="connsiteX13" fmla="*/ 1838 w 226625"/>
                  <a:gd name="connsiteY13" fmla="*/ 135288 h 190593"/>
                  <a:gd name="connsiteX14" fmla="*/ 2689 w 226625"/>
                  <a:gd name="connsiteY14" fmla="*/ 147696 h 190593"/>
                  <a:gd name="connsiteX15" fmla="*/ 16185 w 226625"/>
                  <a:gd name="connsiteY15" fmla="*/ 147753 h 190593"/>
                  <a:gd name="connsiteX16" fmla="*/ 17277 w 226625"/>
                  <a:gd name="connsiteY16" fmla="*/ 146458 h 190593"/>
                  <a:gd name="connsiteX17" fmla="*/ 62863 w 226625"/>
                  <a:gd name="connsiteY17" fmla="*/ 101474 h 190593"/>
                  <a:gd name="connsiteX18" fmla="*/ 55690 w 226625"/>
                  <a:gd name="connsiteY18" fmla="*/ 167840 h 190593"/>
                  <a:gd name="connsiteX19" fmla="*/ 55481 w 226625"/>
                  <a:gd name="connsiteY19" fmla="*/ 181212 h 190593"/>
                  <a:gd name="connsiteX20" fmla="*/ 68947 w 226625"/>
                  <a:gd name="connsiteY20" fmla="*/ 181518 h 190593"/>
                  <a:gd name="connsiteX21" fmla="*/ 69101 w 226625"/>
                  <a:gd name="connsiteY21" fmla="*/ 181367 h 190593"/>
                  <a:gd name="connsiteX22" fmla="*/ 80929 w 226625"/>
                  <a:gd name="connsiteY22" fmla="*/ 95419 h 190593"/>
                  <a:gd name="connsiteX23" fmla="*/ 79633 w 226625"/>
                  <a:gd name="connsiteY23" fmla="*/ 91811 h 190593"/>
                  <a:gd name="connsiteX24" fmla="*/ 84681 w 226625"/>
                  <a:gd name="connsiteY24" fmla="*/ 89144 h 190593"/>
                  <a:gd name="connsiteX25" fmla="*/ 126367 w 226625"/>
                  <a:gd name="connsiteY25" fmla="*/ 60991 h 190593"/>
                  <a:gd name="connsiteX26" fmla="*/ 132301 w 226625"/>
                  <a:gd name="connsiteY26" fmla="*/ 94837 h 190593"/>
                  <a:gd name="connsiteX27" fmla="*/ 119721 w 226625"/>
                  <a:gd name="connsiteY27" fmla="*/ 174335 h 190593"/>
                  <a:gd name="connsiteX28" fmla="*/ 128933 w 226625"/>
                  <a:gd name="connsiteY28" fmla="*/ 184164 h 190593"/>
                  <a:gd name="connsiteX29" fmla="*/ 128944 w 226625"/>
                  <a:gd name="connsiteY29" fmla="*/ 184164 h 190593"/>
                  <a:gd name="connsiteX30" fmla="*/ 129251 w 226625"/>
                  <a:gd name="connsiteY30" fmla="*/ 184164 h 190593"/>
                  <a:gd name="connsiteX31" fmla="*/ 138767 w 226625"/>
                  <a:gd name="connsiteY31" fmla="*/ 174941 h 190593"/>
                  <a:gd name="connsiteX32" fmla="*/ 144553 w 226625"/>
                  <a:gd name="connsiteY32" fmla="*/ 122553 h 190593"/>
                  <a:gd name="connsiteX33" fmla="*/ 206051 w 226625"/>
                  <a:gd name="connsiteY33" fmla="*/ 184358 h 190593"/>
                  <a:gd name="connsiteX34" fmla="*/ 211251 w 226625"/>
                  <a:gd name="connsiteY34" fmla="*/ 188507 h 190593"/>
                  <a:gd name="connsiteX35" fmla="*/ 224638 w 226625"/>
                  <a:gd name="connsiteY35" fmla="*/ 187017 h 190593"/>
                  <a:gd name="connsiteX36" fmla="*/ 225368 w 226625"/>
                  <a:gd name="connsiteY36" fmla="*/ 185968 h 190593"/>
                  <a:gd name="connsiteX37" fmla="*/ 222763 w 226625"/>
                  <a:gd name="connsiteY37" fmla="*/ 173326 h 190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26625" h="190593">
                    <a:moveTo>
                      <a:pt x="217930" y="169462"/>
                    </a:moveTo>
                    <a:cubicBezTo>
                      <a:pt x="185376" y="143497"/>
                      <a:pt x="160894" y="120711"/>
                      <a:pt x="150443" y="84237"/>
                    </a:cubicBezTo>
                    <a:cubicBezTo>
                      <a:pt x="169519" y="84377"/>
                      <a:pt x="188829" y="103399"/>
                      <a:pt x="189024" y="103592"/>
                    </a:cubicBezTo>
                    <a:cubicBezTo>
                      <a:pt x="192764" y="107292"/>
                      <a:pt x="198796" y="107260"/>
                      <a:pt x="202496" y="103519"/>
                    </a:cubicBezTo>
                    <a:cubicBezTo>
                      <a:pt x="206196" y="99780"/>
                      <a:pt x="206163" y="93749"/>
                      <a:pt x="202424" y="90048"/>
                    </a:cubicBezTo>
                    <a:cubicBezTo>
                      <a:pt x="201387" y="89025"/>
                      <a:pt x="176932" y="65093"/>
                      <a:pt x="149878" y="65093"/>
                    </a:cubicBezTo>
                    <a:lnTo>
                      <a:pt x="146475" y="65093"/>
                    </a:lnTo>
                    <a:cubicBezTo>
                      <a:pt x="145269" y="56038"/>
                      <a:pt x="144748" y="46906"/>
                      <a:pt x="144915" y="37773"/>
                    </a:cubicBezTo>
                    <a:cubicBezTo>
                      <a:pt x="149757" y="30123"/>
                      <a:pt x="154086" y="22159"/>
                      <a:pt x="157873" y="13935"/>
                    </a:cubicBezTo>
                    <a:cubicBezTo>
                      <a:pt x="159956" y="9676"/>
                      <a:pt x="158699" y="4537"/>
                      <a:pt x="154886" y="1720"/>
                    </a:cubicBezTo>
                    <a:cubicBezTo>
                      <a:pt x="150569" y="-1297"/>
                      <a:pt x="144623" y="-242"/>
                      <a:pt x="141608" y="4076"/>
                    </a:cubicBezTo>
                    <a:cubicBezTo>
                      <a:pt x="141289" y="4532"/>
                      <a:pt x="141010" y="5015"/>
                      <a:pt x="140776" y="5519"/>
                    </a:cubicBezTo>
                    <a:cubicBezTo>
                      <a:pt x="128850" y="35515"/>
                      <a:pt x="105482" y="59533"/>
                      <a:pt x="75826" y="72278"/>
                    </a:cubicBezTo>
                    <a:cubicBezTo>
                      <a:pt x="45900" y="86175"/>
                      <a:pt x="20323" y="107957"/>
                      <a:pt x="1838" y="135288"/>
                    </a:cubicBezTo>
                    <a:cubicBezTo>
                      <a:pt x="-903" y="139090"/>
                      <a:pt x="-545" y="144304"/>
                      <a:pt x="2689" y="147696"/>
                    </a:cubicBezTo>
                    <a:cubicBezTo>
                      <a:pt x="6400" y="151439"/>
                      <a:pt x="12443" y="151463"/>
                      <a:pt x="16185" y="147753"/>
                    </a:cubicBezTo>
                    <a:cubicBezTo>
                      <a:pt x="16586" y="147353"/>
                      <a:pt x="16952" y="146921"/>
                      <a:pt x="17277" y="146458"/>
                    </a:cubicBezTo>
                    <a:cubicBezTo>
                      <a:pt x="29235" y="128503"/>
                      <a:pt x="44750" y="113193"/>
                      <a:pt x="62863" y="101474"/>
                    </a:cubicBezTo>
                    <a:cubicBezTo>
                      <a:pt x="71375" y="127060"/>
                      <a:pt x="62256" y="161128"/>
                      <a:pt x="55690" y="167840"/>
                    </a:cubicBezTo>
                    <a:cubicBezTo>
                      <a:pt x="52083" y="171535"/>
                      <a:pt x="51992" y="177405"/>
                      <a:pt x="55481" y="181212"/>
                    </a:cubicBezTo>
                    <a:cubicBezTo>
                      <a:pt x="59115" y="185015"/>
                      <a:pt x="65145" y="185152"/>
                      <a:pt x="68947" y="181518"/>
                    </a:cubicBezTo>
                    <a:cubicBezTo>
                      <a:pt x="68999" y="181468"/>
                      <a:pt x="69051" y="181418"/>
                      <a:pt x="69101" y="181367"/>
                    </a:cubicBezTo>
                    <a:cubicBezTo>
                      <a:pt x="81324" y="169145"/>
                      <a:pt x="91676" y="127668"/>
                      <a:pt x="80929" y="95419"/>
                    </a:cubicBezTo>
                    <a:cubicBezTo>
                      <a:pt x="80590" y="94185"/>
                      <a:pt x="80157" y="92979"/>
                      <a:pt x="79633" y="91811"/>
                    </a:cubicBezTo>
                    <a:cubicBezTo>
                      <a:pt x="81322" y="90912"/>
                      <a:pt x="83004" y="90023"/>
                      <a:pt x="84681" y="89144"/>
                    </a:cubicBezTo>
                    <a:cubicBezTo>
                      <a:pt x="99966" y="82002"/>
                      <a:pt x="114033" y="72502"/>
                      <a:pt x="126367" y="60991"/>
                    </a:cubicBezTo>
                    <a:cubicBezTo>
                      <a:pt x="127064" y="72460"/>
                      <a:pt x="129055" y="83815"/>
                      <a:pt x="132301" y="94837"/>
                    </a:cubicBezTo>
                    <a:cubicBezTo>
                      <a:pt x="125423" y="120841"/>
                      <a:pt x="121208" y="147477"/>
                      <a:pt x="119721" y="174335"/>
                    </a:cubicBezTo>
                    <a:cubicBezTo>
                      <a:pt x="119551" y="179593"/>
                      <a:pt x="123675" y="183993"/>
                      <a:pt x="128933" y="184164"/>
                    </a:cubicBezTo>
                    <a:cubicBezTo>
                      <a:pt x="128937" y="184164"/>
                      <a:pt x="128940" y="184164"/>
                      <a:pt x="128944" y="184164"/>
                    </a:cubicBezTo>
                    <a:lnTo>
                      <a:pt x="129251" y="184164"/>
                    </a:lnTo>
                    <a:cubicBezTo>
                      <a:pt x="134392" y="184162"/>
                      <a:pt x="138604" y="180079"/>
                      <a:pt x="138767" y="174941"/>
                    </a:cubicBezTo>
                    <a:cubicBezTo>
                      <a:pt x="139489" y="157366"/>
                      <a:pt x="141423" y="139862"/>
                      <a:pt x="144553" y="122553"/>
                    </a:cubicBezTo>
                    <a:cubicBezTo>
                      <a:pt x="159213" y="146889"/>
                      <a:pt x="181185" y="164522"/>
                      <a:pt x="206051" y="184358"/>
                    </a:cubicBezTo>
                    <a:lnTo>
                      <a:pt x="211251" y="188507"/>
                    </a:lnTo>
                    <a:cubicBezTo>
                      <a:pt x="215359" y="191792"/>
                      <a:pt x="221353" y="191126"/>
                      <a:pt x="224638" y="187017"/>
                    </a:cubicBezTo>
                    <a:cubicBezTo>
                      <a:pt x="224905" y="186684"/>
                      <a:pt x="225149" y="186334"/>
                      <a:pt x="225368" y="185968"/>
                    </a:cubicBezTo>
                    <a:cubicBezTo>
                      <a:pt x="227762" y="181692"/>
                      <a:pt x="226653" y="176308"/>
                      <a:pt x="222763" y="1733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EF3A691-06D4-AE08-866A-2AFD4168463A}"/>
                  </a:ext>
                </a:extLst>
              </p:cNvPr>
              <p:cNvSpPr/>
              <p:nvPr/>
            </p:nvSpPr>
            <p:spPr>
              <a:xfrm>
                <a:off x="3142807" y="2234628"/>
                <a:ext cx="164292" cy="179110"/>
              </a:xfrm>
              <a:custGeom>
                <a:avLst/>
                <a:gdLst>
                  <a:gd name="connsiteX0" fmla="*/ 93453 w 164292"/>
                  <a:gd name="connsiteY0" fmla="*/ 96637 h 179110"/>
                  <a:gd name="connsiteX1" fmla="*/ 65281 w 164292"/>
                  <a:gd name="connsiteY1" fmla="*/ 85473 h 179110"/>
                  <a:gd name="connsiteX2" fmla="*/ 53470 w 164292"/>
                  <a:gd name="connsiteY2" fmla="*/ 68415 h 179110"/>
                  <a:gd name="connsiteX3" fmla="*/ 18714 w 164292"/>
                  <a:gd name="connsiteY3" fmla="*/ 6994 h 179110"/>
                  <a:gd name="connsiteX4" fmla="*/ 9554 w 164292"/>
                  <a:gd name="connsiteY4" fmla="*/ 0 h 179110"/>
                  <a:gd name="connsiteX5" fmla="*/ 0 w 164292"/>
                  <a:gd name="connsiteY5" fmla="*/ 9559 h 179110"/>
                  <a:gd name="connsiteX6" fmla="*/ 491 w 164292"/>
                  <a:gd name="connsiteY6" fmla="*/ 12579 h 179110"/>
                  <a:gd name="connsiteX7" fmla="*/ 37908 w 164292"/>
                  <a:gd name="connsiteY7" fmla="*/ 79412 h 179110"/>
                  <a:gd name="connsiteX8" fmla="*/ 84509 w 164292"/>
                  <a:gd name="connsiteY8" fmla="*/ 171900 h 179110"/>
                  <a:gd name="connsiteX9" fmla="*/ 93741 w 164292"/>
                  <a:gd name="connsiteY9" fmla="*/ 179111 h 179110"/>
                  <a:gd name="connsiteX10" fmla="*/ 98027 w 164292"/>
                  <a:gd name="connsiteY10" fmla="*/ 178092 h 179110"/>
                  <a:gd name="connsiteX11" fmla="*/ 102857 w 164292"/>
                  <a:gd name="connsiteY11" fmla="*/ 166728 h 179110"/>
                  <a:gd name="connsiteX12" fmla="*/ 82026 w 164292"/>
                  <a:gd name="connsiteY12" fmla="*/ 113091 h 179110"/>
                  <a:gd name="connsiteX13" fmla="*/ 88074 w 164292"/>
                  <a:gd name="connsiteY13" fmla="*/ 114915 h 179110"/>
                  <a:gd name="connsiteX14" fmla="*/ 145716 w 164292"/>
                  <a:gd name="connsiteY14" fmla="*/ 163075 h 179110"/>
                  <a:gd name="connsiteX15" fmla="*/ 154754 w 164292"/>
                  <a:gd name="connsiteY15" fmla="*/ 169591 h 179110"/>
                  <a:gd name="connsiteX16" fmla="*/ 164293 w 164292"/>
                  <a:gd name="connsiteY16" fmla="*/ 160105 h 179110"/>
                  <a:gd name="connsiteX17" fmla="*/ 163679 w 164292"/>
                  <a:gd name="connsiteY17" fmla="*/ 156714 h 179110"/>
                  <a:gd name="connsiteX18" fmla="*/ 93453 w 164292"/>
                  <a:gd name="connsiteY18" fmla="*/ 96637 h 179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4292" h="179110">
                    <a:moveTo>
                      <a:pt x="93453" y="96637"/>
                    </a:moveTo>
                    <a:cubicBezTo>
                      <a:pt x="83570" y="94301"/>
                      <a:pt x="74081" y="90540"/>
                      <a:pt x="65281" y="85473"/>
                    </a:cubicBezTo>
                    <a:cubicBezTo>
                      <a:pt x="61310" y="79567"/>
                      <a:pt x="57334" y="73886"/>
                      <a:pt x="53470" y="68415"/>
                    </a:cubicBezTo>
                    <a:cubicBezTo>
                      <a:pt x="38889" y="49788"/>
                      <a:pt x="27174" y="29086"/>
                      <a:pt x="18714" y="6994"/>
                    </a:cubicBezTo>
                    <a:cubicBezTo>
                      <a:pt x="17494" y="2928"/>
                      <a:pt x="13798" y="106"/>
                      <a:pt x="9554" y="0"/>
                    </a:cubicBezTo>
                    <a:cubicBezTo>
                      <a:pt x="4276" y="2"/>
                      <a:pt x="-2" y="4281"/>
                      <a:pt x="0" y="9559"/>
                    </a:cubicBezTo>
                    <a:cubicBezTo>
                      <a:pt x="0" y="10585"/>
                      <a:pt x="166" y="11605"/>
                      <a:pt x="491" y="12579"/>
                    </a:cubicBezTo>
                    <a:cubicBezTo>
                      <a:pt x="9468" y="36641"/>
                      <a:pt x="22087" y="59181"/>
                      <a:pt x="37908" y="79412"/>
                    </a:cubicBezTo>
                    <a:cubicBezTo>
                      <a:pt x="59520" y="106783"/>
                      <a:pt x="75371" y="138243"/>
                      <a:pt x="84509" y="171900"/>
                    </a:cubicBezTo>
                    <a:cubicBezTo>
                      <a:pt x="85572" y="176134"/>
                      <a:pt x="89375" y="179105"/>
                      <a:pt x="93741" y="179111"/>
                    </a:cubicBezTo>
                    <a:cubicBezTo>
                      <a:pt x="95231" y="179116"/>
                      <a:pt x="96700" y="178766"/>
                      <a:pt x="98027" y="178092"/>
                    </a:cubicBezTo>
                    <a:cubicBezTo>
                      <a:pt x="102068" y="175873"/>
                      <a:pt x="104063" y="171177"/>
                      <a:pt x="102857" y="166728"/>
                    </a:cubicBezTo>
                    <a:cubicBezTo>
                      <a:pt x="98152" y="148058"/>
                      <a:pt x="91155" y="130043"/>
                      <a:pt x="82026" y="113091"/>
                    </a:cubicBezTo>
                    <a:cubicBezTo>
                      <a:pt x="84046" y="113708"/>
                      <a:pt x="86067" y="114324"/>
                      <a:pt x="88074" y="114915"/>
                    </a:cubicBezTo>
                    <a:cubicBezTo>
                      <a:pt x="111791" y="121896"/>
                      <a:pt x="134192" y="128495"/>
                      <a:pt x="145716" y="163075"/>
                    </a:cubicBezTo>
                    <a:cubicBezTo>
                      <a:pt x="147014" y="166965"/>
                      <a:pt x="150653" y="169589"/>
                      <a:pt x="154754" y="169591"/>
                    </a:cubicBezTo>
                    <a:cubicBezTo>
                      <a:pt x="160008" y="169606"/>
                      <a:pt x="164279" y="165359"/>
                      <a:pt x="164293" y="160105"/>
                    </a:cubicBezTo>
                    <a:cubicBezTo>
                      <a:pt x="164297" y="158947"/>
                      <a:pt x="164088" y="157798"/>
                      <a:pt x="163679" y="156714"/>
                    </a:cubicBezTo>
                    <a:cubicBezTo>
                      <a:pt x="148959" y="112986"/>
                      <a:pt x="118188" y="103925"/>
                      <a:pt x="93453" y="966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B4285812-C690-9B8D-AC85-BDDF47DFF52A}"/>
              </a:ext>
            </a:extLst>
          </p:cNvPr>
          <p:cNvGrpSpPr/>
          <p:nvPr/>
        </p:nvGrpSpPr>
        <p:grpSpPr>
          <a:xfrm>
            <a:off x="3966619" y="2341795"/>
            <a:ext cx="5593140" cy="395906"/>
            <a:chOff x="4881004" y="1555919"/>
            <a:chExt cx="5593140" cy="395906"/>
          </a:xfrm>
        </p:grpSpPr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265DD745-4AAB-243A-D9D2-778E278130EA}"/>
                </a:ext>
              </a:extLst>
            </p:cNvPr>
            <p:cNvSpPr txBox="1"/>
            <p:nvPr/>
          </p:nvSpPr>
          <p:spPr>
            <a:xfrm>
              <a:off x="4881004" y="1569206"/>
              <a:ext cx="8034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b="1" dirty="0"/>
                <a:t>Action</a:t>
              </a:r>
            </a:p>
          </p:txBody>
        </p:sp>
        <p:sp>
          <p:nvSpPr>
            <p:cNvPr id="36" name="Abgerundetes Rechteck 35">
              <a:extLst>
                <a:ext uri="{FF2B5EF4-FFF2-40B4-BE49-F238E27FC236}">
                  <a16:creationId xmlns:a16="http://schemas.microsoft.com/office/drawing/2014/main" id="{0E216AC4-E7B2-EB51-4AE4-9961AF8A9912}"/>
                </a:ext>
              </a:extLst>
            </p:cNvPr>
            <p:cNvSpPr/>
            <p:nvPr/>
          </p:nvSpPr>
          <p:spPr>
            <a:xfrm>
              <a:off x="5684429" y="1555919"/>
              <a:ext cx="4789715" cy="39590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“Baum pflanzen“ / „Bahn fahren“</a:t>
              </a: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170B0E7-0C11-4F89-1CAA-123B014991AE}"/>
              </a:ext>
            </a:extLst>
          </p:cNvPr>
          <p:cNvGrpSpPr/>
          <p:nvPr/>
        </p:nvGrpSpPr>
        <p:grpSpPr>
          <a:xfrm>
            <a:off x="4256762" y="2944138"/>
            <a:ext cx="5302997" cy="395906"/>
            <a:chOff x="5171147" y="2136490"/>
            <a:chExt cx="5302997" cy="395906"/>
          </a:xfrm>
        </p:grpSpPr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9907182B-0311-AD95-2A5E-BD4C9FE86DC8}"/>
                </a:ext>
              </a:extLst>
            </p:cNvPr>
            <p:cNvSpPr txBox="1"/>
            <p:nvPr/>
          </p:nvSpPr>
          <p:spPr>
            <a:xfrm>
              <a:off x="5171147" y="2149777"/>
              <a:ext cx="5132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b="1" dirty="0"/>
                <a:t>KM</a:t>
              </a:r>
            </a:p>
          </p:txBody>
        </p:sp>
        <p:sp>
          <p:nvSpPr>
            <p:cNvPr id="37" name="Abgerundetes Rechteck 36">
              <a:extLst>
                <a:ext uri="{FF2B5EF4-FFF2-40B4-BE49-F238E27FC236}">
                  <a16:creationId xmlns:a16="http://schemas.microsoft.com/office/drawing/2014/main" id="{6219E5C0-3603-555F-C4DF-42085FA427D0}"/>
                </a:ext>
              </a:extLst>
            </p:cNvPr>
            <p:cNvSpPr/>
            <p:nvPr/>
          </p:nvSpPr>
          <p:spPr>
            <a:xfrm>
              <a:off x="5684429" y="2136490"/>
              <a:ext cx="4789715" cy="39590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Anzahl der Kilometer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664A49D8-3048-DEF1-D6AD-A7FA5673FC77}"/>
              </a:ext>
            </a:extLst>
          </p:cNvPr>
          <p:cNvGrpSpPr/>
          <p:nvPr/>
        </p:nvGrpSpPr>
        <p:grpSpPr>
          <a:xfrm>
            <a:off x="2646129" y="3546480"/>
            <a:ext cx="6913630" cy="395906"/>
            <a:chOff x="3560514" y="2760604"/>
            <a:chExt cx="6913630" cy="395906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5AD33B55-76F5-2A38-5443-5833FDE7E47F}"/>
                </a:ext>
              </a:extLst>
            </p:cNvPr>
            <p:cNvSpPr txBox="1"/>
            <p:nvPr/>
          </p:nvSpPr>
          <p:spPr>
            <a:xfrm>
              <a:off x="3560514" y="2773891"/>
              <a:ext cx="2123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b="1" dirty="0"/>
                <a:t>Anzahl d. Passagiere</a:t>
              </a:r>
            </a:p>
          </p:txBody>
        </p:sp>
        <p:sp>
          <p:nvSpPr>
            <p:cNvPr id="38" name="Abgerundetes Rechteck 37">
              <a:extLst>
                <a:ext uri="{FF2B5EF4-FFF2-40B4-BE49-F238E27FC236}">
                  <a16:creationId xmlns:a16="http://schemas.microsoft.com/office/drawing/2014/main" id="{986B2B09-B695-F819-C2DE-02B03DC765C3}"/>
                </a:ext>
              </a:extLst>
            </p:cNvPr>
            <p:cNvSpPr/>
            <p:nvPr/>
          </p:nvSpPr>
          <p:spPr>
            <a:xfrm>
              <a:off x="5684429" y="2760604"/>
              <a:ext cx="4789715" cy="39590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Anzahl der Passagiere</a:t>
              </a:r>
            </a:p>
          </p:txBody>
        </p:sp>
      </p:grpSp>
      <p:sp>
        <p:nvSpPr>
          <p:cNvPr id="40" name="Abgerundetes Rechteck 39">
            <a:extLst>
              <a:ext uri="{FF2B5EF4-FFF2-40B4-BE49-F238E27FC236}">
                <a16:creationId xmlns:a16="http://schemas.microsoft.com/office/drawing/2014/main" id="{C184B866-8C67-BB8B-7A32-DAF8567B3299}"/>
              </a:ext>
            </a:extLst>
          </p:cNvPr>
          <p:cNvSpPr/>
          <p:nvPr/>
        </p:nvSpPr>
        <p:spPr>
          <a:xfrm>
            <a:off x="4770044" y="4997494"/>
            <a:ext cx="4789715" cy="39590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2">
                    <a:lumMod val="25000"/>
                  </a:schemeClr>
                </a:solidFill>
              </a:rPr>
              <a:t>Bestätigen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E3CACC8C-C022-A839-C8F9-A4FDAEC0F06D}"/>
              </a:ext>
            </a:extLst>
          </p:cNvPr>
          <p:cNvSpPr txBox="1"/>
          <p:nvPr/>
        </p:nvSpPr>
        <p:spPr>
          <a:xfrm>
            <a:off x="9559759" y="299493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EAD25BC-7B02-E0AC-FD00-75E7D774D86C}"/>
              </a:ext>
            </a:extLst>
          </p:cNvPr>
          <p:cNvSpPr txBox="1"/>
          <p:nvPr/>
        </p:nvSpPr>
        <p:spPr>
          <a:xfrm>
            <a:off x="9559759" y="3560995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2676D5EB-2D54-6FC0-406D-9DE2D7A0EC6A}"/>
              </a:ext>
            </a:extLst>
          </p:cNvPr>
          <p:cNvSpPr txBox="1"/>
          <p:nvPr/>
        </p:nvSpPr>
        <p:spPr>
          <a:xfrm>
            <a:off x="1821864" y="6413419"/>
            <a:ext cx="4869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 Nur auszufüllen, wenn Bahnfahren gewählt wird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351EC05-8D43-6FBE-304C-D1D48A5EEB16}"/>
              </a:ext>
            </a:extLst>
          </p:cNvPr>
          <p:cNvGrpSpPr/>
          <p:nvPr/>
        </p:nvGrpSpPr>
        <p:grpSpPr>
          <a:xfrm>
            <a:off x="2080525" y="4185109"/>
            <a:ext cx="7479234" cy="395906"/>
            <a:chOff x="2994910" y="2760604"/>
            <a:chExt cx="7479234" cy="395906"/>
          </a:xfrm>
        </p:grpSpPr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BA5BB5C0-3281-C000-221E-A50A33FC666F}"/>
                </a:ext>
              </a:extLst>
            </p:cNvPr>
            <p:cNvSpPr txBox="1"/>
            <p:nvPr/>
          </p:nvSpPr>
          <p:spPr>
            <a:xfrm>
              <a:off x="2994910" y="2773891"/>
              <a:ext cx="26895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b="1" dirty="0"/>
                <a:t>Co2-Emissionen des Autos</a:t>
              </a:r>
            </a:p>
          </p:txBody>
        </p:sp>
        <p:sp>
          <p:nvSpPr>
            <p:cNvPr id="49" name="Abgerundetes Rechteck 48">
              <a:extLst>
                <a:ext uri="{FF2B5EF4-FFF2-40B4-BE49-F238E27FC236}">
                  <a16:creationId xmlns:a16="http://schemas.microsoft.com/office/drawing/2014/main" id="{A196D7FC-826A-A477-68D1-5A71A2752B17}"/>
                </a:ext>
              </a:extLst>
            </p:cNvPr>
            <p:cNvSpPr/>
            <p:nvPr/>
          </p:nvSpPr>
          <p:spPr>
            <a:xfrm>
              <a:off x="5684429" y="2760604"/>
              <a:ext cx="4789715" cy="39590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Anzahl der Passagiere</a:t>
              </a:r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06B8FD5C-57F0-8CFA-A699-A2C910A37926}"/>
              </a:ext>
            </a:extLst>
          </p:cNvPr>
          <p:cNvSpPr txBox="1"/>
          <p:nvPr/>
        </p:nvSpPr>
        <p:spPr>
          <a:xfrm>
            <a:off x="9559759" y="4211683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184069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</Words>
  <Application>Microsoft Macintosh PowerPoint</Application>
  <PresentationFormat>Breitbild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Roboto Condensed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Haßlauer</dc:creator>
  <cp:lastModifiedBy>Jonas Haßlauer</cp:lastModifiedBy>
  <cp:revision>1</cp:revision>
  <dcterms:created xsi:type="dcterms:W3CDTF">2024-01-28T00:49:38Z</dcterms:created>
  <dcterms:modified xsi:type="dcterms:W3CDTF">2024-01-28T01:05:24Z</dcterms:modified>
</cp:coreProperties>
</file>